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1"/>
  </p:sldMasterIdLst>
  <p:notesMasterIdLst>
    <p:notesMasterId r:id="rId36"/>
  </p:notesMasterIdLst>
  <p:sldIdLst>
    <p:sldId id="2043" r:id="rId2"/>
    <p:sldId id="1863" r:id="rId3"/>
    <p:sldId id="1870" r:id="rId4"/>
    <p:sldId id="2020" r:id="rId5"/>
    <p:sldId id="1999" r:id="rId6"/>
    <p:sldId id="2018" r:id="rId7"/>
    <p:sldId id="2000" r:id="rId8"/>
    <p:sldId id="2019" r:id="rId9"/>
    <p:sldId id="2021" r:id="rId10"/>
    <p:sldId id="1620" r:id="rId11"/>
    <p:sldId id="2001" r:id="rId12"/>
    <p:sldId id="2022" r:id="rId13"/>
    <p:sldId id="2008" r:id="rId14"/>
    <p:sldId id="2011" r:id="rId15"/>
    <p:sldId id="2012" r:id="rId16"/>
    <p:sldId id="2015" r:id="rId17"/>
    <p:sldId id="2016" r:id="rId18"/>
    <p:sldId id="2017" r:id="rId19"/>
    <p:sldId id="2004" r:id="rId20"/>
    <p:sldId id="2023" r:id="rId21"/>
    <p:sldId id="2028" r:id="rId22"/>
    <p:sldId id="2026" r:id="rId23"/>
    <p:sldId id="2024" r:id="rId24"/>
    <p:sldId id="2029" r:id="rId25"/>
    <p:sldId id="2036" r:id="rId26"/>
    <p:sldId id="2037" r:id="rId27"/>
    <p:sldId id="2038" r:id="rId28"/>
    <p:sldId id="2042" r:id="rId29"/>
    <p:sldId id="2040" r:id="rId30"/>
    <p:sldId id="2041" r:id="rId31"/>
    <p:sldId id="2025" r:id="rId32"/>
    <p:sldId id="2034" r:id="rId33"/>
    <p:sldId id="1997" r:id="rId34"/>
    <p:sldId id="2044" r:id="rId35"/>
  </p:sldIdLst>
  <p:sldSz cx="12192000" cy="6858000"/>
  <p:notesSz cx="6858000" cy="9144000"/>
  <p:defaultTextStyle>
    <a:defPPr>
      <a:defRPr lang="en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Welcome" id="{9309BF5C-D053-43D8-9143-7617D52CCA55}">
          <p14:sldIdLst>
            <p14:sldId id="2043"/>
            <p14:sldId id="1863"/>
            <p14:sldId id="1870"/>
          </p14:sldIdLst>
        </p14:section>
        <p14:section name="What are cognitive services" id="{E4F07D7B-87EE-4A29-BA09-BB8F517E5A6A}">
          <p14:sldIdLst>
            <p14:sldId id="2020"/>
            <p14:sldId id="1999"/>
            <p14:sldId id="2018"/>
            <p14:sldId id="2000"/>
            <p14:sldId id="2019"/>
          </p14:sldIdLst>
        </p14:section>
        <p14:section name="Examples" id="{DB8B63BC-0DBD-44D1-A966-84BF07E53E0D}">
          <p14:sldIdLst>
            <p14:sldId id="2021"/>
            <p14:sldId id="1620"/>
            <p14:sldId id="2001"/>
          </p14:sldIdLst>
        </p14:section>
        <p14:section name="Azure Cognitive Services" id="{86F9793F-AF82-48B1-9D24-7B60BA788992}">
          <p14:sldIdLst>
            <p14:sldId id="2022"/>
            <p14:sldId id="2008"/>
            <p14:sldId id="2011"/>
            <p14:sldId id="2012"/>
            <p14:sldId id="2015"/>
            <p14:sldId id="2016"/>
            <p14:sldId id="2017"/>
            <p14:sldId id="2004"/>
          </p14:sldIdLst>
        </p14:section>
        <p14:section name="Bots" id="{EE02774B-AA7E-43EF-8C98-40F228A9AFC8}">
          <p14:sldIdLst>
            <p14:sldId id="2023"/>
            <p14:sldId id="2028"/>
            <p14:sldId id="2026"/>
          </p14:sldIdLst>
        </p14:section>
        <p14:section name="Demo" id="{CACA2D2C-BC28-4B80-9B73-D6FEBE9C7F5F}">
          <p14:sldIdLst>
            <p14:sldId id="2024"/>
            <p14:sldId id="2029"/>
            <p14:sldId id="2036"/>
            <p14:sldId id="2037"/>
            <p14:sldId id="2038"/>
            <p14:sldId id="2042"/>
            <p14:sldId id="2040"/>
            <p14:sldId id="2041"/>
          </p14:sldIdLst>
        </p14:section>
        <p14:section name="Conlusion" id="{5708E3A6-E515-4636-B828-6CAFBADB5A0C}">
          <p14:sldIdLst>
            <p14:sldId id="2025"/>
            <p14:sldId id="2034"/>
            <p14:sldId id="1997"/>
            <p14:sldId id="204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5D8C473-630B-47EC-B6E4-DB71D6928E8A}" v="5" dt="2021-10-12T06:59:46.185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6505" autoAdjust="0"/>
  </p:normalViewPr>
  <p:slideViewPr>
    <p:cSldViewPr snapToGrid="0">
      <p:cViewPr varScale="1">
        <p:scale>
          <a:sx n="106" d="100"/>
          <a:sy n="106" d="100"/>
        </p:scale>
        <p:origin x="1061" y="7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microsoft.com/office/2015/10/relationships/revisionInfo" Target="revisionInfo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ldert Grootenboer" userId="3fe8758b2c2b58d2" providerId="LiveId" clId="{A299B12E-E556-4FD9-B950-379CF91CEAD0}"/>
    <pc:docChg chg="undo redo custSel mod addSld delSld modSld sldOrd delMainMaster modMainMaster addSection delSection modSection">
      <pc:chgData name="Eldert Grootenboer" userId="3fe8758b2c2b58d2" providerId="LiveId" clId="{A299B12E-E556-4FD9-B950-379CF91CEAD0}" dt="2020-08-19T09:30:57.807" v="3712" actId="12788"/>
      <pc:docMkLst>
        <pc:docMk/>
      </pc:docMkLst>
      <pc:sldChg chg="addSp delSp modSp add del mod setBg modClrScheme setClrOvrMap chgLayout">
        <pc:chgData name="Eldert Grootenboer" userId="3fe8758b2c2b58d2" providerId="LiveId" clId="{A299B12E-E556-4FD9-B950-379CF91CEAD0}" dt="2020-07-31T13:14:23.201" v="233" actId="47"/>
        <pc:sldMkLst>
          <pc:docMk/>
          <pc:sldMk cId="2461626383" sldId="258"/>
        </pc:sldMkLst>
        <pc:spChg chg="mod ord">
          <ac:chgData name="Eldert Grootenboer" userId="3fe8758b2c2b58d2" providerId="LiveId" clId="{A299B12E-E556-4FD9-B950-379CF91CEAD0}" dt="2020-07-31T13:14:04.288" v="228" actId="368"/>
          <ac:spMkLst>
            <pc:docMk/>
            <pc:sldMk cId="2461626383" sldId="258"/>
            <ac:spMk id="2" creationId="{00000000-0000-0000-0000-000000000000}"/>
          </ac:spMkLst>
        </pc:spChg>
        <pc:spChg chg="mod ord">
          <ac:chgData name="Eldert Grootenboer" userId="3fe8758b2c2b58d2" providerId="LiveId" clId="{A299B12E-E556-4FD9-B950-379CF91CEAD0}" dt="2020-07-31T13:14:10.175" v="231" actId="14"/>
          <ac:spMkLst>
            <pc:docMk/>
            <pc:sldMk cId="2461626383" sldId="258"/>
            <ac:spMk id="3" creationId="{00000000-0000-0000-0000-000000000000}"/>
          </ac:spMkLst>
        </pc:spChg>
        <pc:spChg chg="add del mod">
          <ac:chgData name="Eldert Grootenboer" userId="3fe8758b2c2b58d2" providerId="LiveId" clId="{A299B12E-E556-4FD9-B950-379CF91CEAD0}" dt="2020-07-31T13:12:22.580" v="207" actId="26606"/>
          <ac:spMkLst>
            <pc:docMk/>
            <pc:sldMk cId="2461626383" sldId="258"/>
            <ac:spMk id="6" creationId="{8FC9BE17-9A7B-462D-AE50-3D8777387304}"/>
          </ac:spMkLst>
        </pc:spChg>
        <pc:spChg chg="add del mod">
          <ac:chgData name="Eldert Grootenboer" userId="3fe8758b2c2b58d2" providerId="LiveId" clId="{A299B12E-E556-4FD9-B950-379CF91CEAD0}" dt="2020-07-31T13:12:22.580" v="207" actId="26606"/>
          <ac:spMkLst>
            <pc:docMk/>
            <pc:sldMk cId="2461626383" sldId="258"/>
            <ac:spMk id="8" creationId="{3EBE8569-6AEC-4B8C-8D53-2DE337CDBA65}"/>
          </ac:spMkLst>
        </pc:spChg>
        <pc:spChg chg="add del">
          <ac:chgData name="Eldert Grootenboer" userId="3fe8758b2c2b58d2" providerId="LiveId" clId="{A299B12E-E556-4FD9-B950-379CF91CEAD0}" dt="2020-07-31T13:11:35.938" v="196" actId="26606"/>
          <ac:spMkLst>
            <pc:docMk/>
            <pc:sldMk cId="2461626383" sldId="258"/>
            <ac:spMk id="9" creationId="{8FC9BE17-9A7B-462D-AE50-3D8777387304}"/>
          </ac:spMkLst>
        </pc:spChg>
        <pc:spChg chg="add del mod">
          <ac:chgData name="Eldert Grootenboer" userId="3fe8758b2c2b58d2" providerId="LiveId" clId="{A299B12E-E556-4FD9-B950-379CF91CEAD0}" dt="2020-07-31T13:12:22.580" v="207" actId="26606"/>
          <ac:spMkLst>
            <pc:docMk/>
            <pc:sldMk cId="2461626383" sldId="258"/>
            <ac:spMk id="10" creationId="{55D4142C-5077-457F-A6AD-3FECFDB39685}"/>
          </ac:spMkLst>
        </pc:spChg>
        <pc:spChg chg="add del">
          <ac:chgData name="Eldert Grootenboer" userId="3fe8758b2c2b58d2" providerId="LiveId" clId="{A299B12E-E556-4FD9-B950-379CF91CEAD0}" dt="2020-07-31T13:11:35.938" v="196" actId="26606"/>
          <ac:spMkLst>
            <pc:docMk/>
            <pc:sldMk cId="2461626383" sldId="258"/>
            <ac:spMk id="11" creationId="{3EBE8569-6AEC-4B8C-8D53-2DE337CDBA65}"/>
          </ac:spMkLst>
        </pc:spChg>
        <pc:spChg chg="add del mod">
          <ac:chgData name="Eldert Grootenboer" userId="3fe8758b2c2b58d2" providerId="LiveId" clId="{A299B12E-E556-4FD9-B950-379CF91CEAD0}" dt="2020-07-31T13:12:22.580" v="207" actId="26606"/>
          <ac:spMkLst>
            <pc:docMk/>
            <pc:sldMk cId="2461626383" sldId="258"/>
            <ac:spMk id="12" creationId="{7A5F0580-5EE9-419F-96EE-B6529EF6E7D0}"/>
          </ac:spMkLst>
        </pc:spChg>
        <pc:spChg chg="add del">
          <ac:chgData name="Eldert Grootenboer" userId="3fe8758b2c2b58d2" providerId="LiveId" clId="{A299B12E-E556-4FD9-B950-379CF91CEAD0}" dt="2020-07-31T13:11:35.938" v="196" actId="26606"/>
          <ac:spMkLst>
            <pc:docMk/>
            <pc:sldMk cId="2461626383" sldId="258"/>
            <ac:spMk id="13" creationId="{55D4142C-5077-457F-A6AD-3FECFDB39685}"/>
          </ac:spMkLst>
        </pc:spChg>
        <pc:spChg chg="add del">
          <ac:chgData name="Eldert Grootenboer" userId="3fe8758b2c2b58d2" providerId="LiveId" clId="{A299B12E-E556-4FD9-B950-379CF91CEAD0}" dt="2020-07-31T13:12:59.830" v="213" actId="26606"/>
          <ac:spMkLst>
            <pc:docMk/>
            <pc:sldMk cId="2461626383" sldId="258"/>
            <ac:spMk id="14" creationId="{8FC9BE17-9A7B-462D-AE50-3D8777387304}"/>
          </ac:spMkLst>
        </pc:spChg>
        <pc:spChg chg="add del">
          <ac:chgData name="Eldert Grootenboer" userId="3fe8758b2c2b58d2" providerId="LiveId" clId="{A299B12E-E556-4FD9-B950-379CF91CEAD0}" dt="2020-07-31T13:11:35.938" v="196" actId="26606"/>
          <ac:spMkLst>
            <pc:docMk/>
            <pc:sldMk cId="2461626383" sldId="258"/>
            <ac:spMk id="15" creationId="{7A5F0580-5EE9-419F-96EE-B6529EF6E7D0}"/>
          </ac:spMkLst>
        </pc:spChg>
        <pc:spChg chg="add del">
          <ac:chgData name="Eldert Grootenboer" userId="3fe8758b2c2b58d2" providerId="LiveId" clId="{A299B12E-E556-4FD9-B950-379CF91CEAD0}" dt="2020-07-31T13:11:39.730" v="198" actId="26606"/>
          <ac:spMkLst>
            <pc:docMk/>
            <pc:sldMk cId="2461626383" sldId="258"/>
            <ac:spMk id="17" creationId="{8FC9BE17-9A7B-462D-AE50-3D8777387304}"/>
          </ac:spMkLst>
        </pc:spChg>
        <pc:spChg chg="add del">
          <ac:chgData name="Eldert Grootenboer" userId="3fe8758b2c2b58d2" providerId="LiveId" clId="{A299B12E-E556-4FD9-B950-379CF91CEAD0}" dt="2020-07-31T13:11:39.730" v="198" actId="26606"/>
          <ac:spMkLst>
            <pc:docMk/>
            <pc:sldMk cId="2461626383" sldId="258"/>
            <ac:spMk id="19" creationId="{3EBE8569-6AEC-4B8C-8D53-2DE337CDBA65}"/>
          </ac:spMkLst>
        </pc:spChg>
        <pc:spChg chg="add del">
          <ac:chgData name="Eldert Grootenboer" userId="3fe8758b2c2b58d2" providerId="LiveId" clId="{A299B12E-E556-4FD9-B950-379CF91CEAD0}" dt="2020-07-31T13:11:39.730" v="198" actId="26606"/>
          <ac:spMkLst>
            <pc:docMk/>
            <pc:sldMk cId="2461626383" sldId="258"/>
            <ac:spMk id="20" creationId="{55D4142C-5077-457F-A6AD-3FECFDB39685}"/>
          </ac:spMkLst>
        </pc:spChg>
        <pc:spChg chg="add del">
          <ac:chgData name="Eldert Grootenboer" userId="3fe8758b2c2b58d2" providerId="LiveId" clId="{A299B12E-E556-4FD9-B950-379CF91CEAD0}" dt="2020-07-31T13:11:39.730" v="198" actId="26606"/>
          <ac:spMkLst>
            <pc:docMk/>
            <pc:sldMk cId="2461626383" sldId="258"/>
            <ac:spMk id="21" creationId="{7A5F0580-5EE9-419F-96EE-B6529EF6E7D0}"/>
          </ac:spMkLst>
        </pc:spChg>
        <pc:spChg chg="add del">
          <ac:chgData name="Eldert Grootenboer" userId="3fe8758b2c2b58d2" providerId="LiveId" clId="{A299B12E-E556-4FD9-B950-379CF91CEAD0}" dt="2020-07-31T13:12:59.830" v="213" actId="26606"/>
          <ac:spMkLst>
            <pc:docMk/>
            <pc:sldMk cId="2461626383" sldId="258"/>
            <ac:spMk id="22" creationId="{3EBE8569-6AEC-4B8C-8D53-2DE337CDBA65}"/>
          </ac:spMkLst>
        </pc:spChg>
        <pc:spChg chg="add del">
          <ac:chgData name="Eldert Grootenboer" userId="3fe8758b2c2b58d2" providerId="LiveId" clId="{A299B12E-E556-4FD9-B950-379CF91CEAD0}" dt="2020-07-31T13:12:59.830" v="213" actId="26606"/>
          <ac:spMkLst>
            <pc:docMk/>
            <pc:sldMk cId="2461626383" sldId="258"/>
            <ac:spMk id="23" creationId="{55D4142C-5077-457F-A6AD-3FECFDB39685}"/>
          </ac:spMkLst>
        </pc:spChg>
        <pc:spChg chg="add del">
          <ac:chgData name="Eldert Grootenboer" userId="3fe8758b2c2b58d2" providerId="LiveId" clId="{A299B12E-E556-4FD9-B950-379CF91CEAD0}" dt="2020-07-31T13:12:59.830" v="213" actId="26606"/>
          <ac:spMkLst>
            <pc:docMk/>
            <pc:sldMk cId="2461626383" sldId="258"/>
            <ac:spMk id="24" creationId="{7A5F0580-5EE9-419F-96EE-B6529EF6E7D0}"/>
          </ac:spMkLst>
        </pc:spChg>
        <pc:spChg chg="add del">
          <ac:chgData name="Eldert Grootenboer" userId="3fe8758b2c2b58d2" providerId="LiveId" clId="{A299B12E-E556-4FD9-B950-379CF91CEAD0}" dt="2020-07-31T13:12:54.507" v="210" actId="26606"/>
          <ac:spMkLst>
            <pc:docMk/>
            <pc:sldMk cId="2461626383" sldId="258"/>
            <ac:spMk id="29" creationId="{7C432AFE-B3D2-4BFF-BF8F-96C27AFF1AC7}"/>
          </ac:spMkLst>
        </pc:spChg>
        <pc:spChg chg="add del">
          <ac:chgData name="Eldert Grootenboer" userId="3fe8758b2c2b58d2" providerId="LiveId" clId="{A299B12E-E556-4FD9-B950-379CF91CEAD0}" dt="2020-07-31T13:12:54.507" v="210" actId="26606"/>
          <ac:spMkLst>
            <pc:docMk/>
            <pc:sldMk cId="2461626383" sldId="258"/>
            <ac:spMk id="31" creationId="{AF2F604E-43BE-4DC3-B983-E071523364F8}"/>
          </ac:spMkLst>
        </pc:spChg>
        <pc:spChg chg="add del">
          <ac:chgData name="Eldert Grootenboer" userId="3fe8758b2c2b58d2" providerId="LiveId" clId="{A299B12E-E556-4FD9-B950-379CF91CEAD0}" dt="2020-07-31T13:12:54.507" v="210" actId="26606"/>
          <ac:spMkLst>
            <pc:docMk/>
            <pc:sldMk cId="2461626383" sldId="258"/>
            <ac:spMk id="33" creationId="{08C9B587-E65E-4B52-B37C-ABEBB6E87928}"/>
          </ac:spMkLst>
        </pc:spChg>
        <pc:spChg chg="add del">
          <ac:chgData name="Eldert Grootenboer" userId="3fe8758b2c2b58d2" providerId="LiveId" clId="{A299B12E-E556-4FD9-B950-379CF91CEAD0}" dt="2020-07-31T13:12:59.565" v="212" actId="26606"/>
          <ac:spMkLst>
            <pc:docMk/>
            <pc:sldMk cId="2461626383" sldId="258"/>
            <ac:spMk id="35" creationId="{D1A4588A-55D5-49B8-BE41-54ACDCFF2C17}"/>
          </ac:spMkLst>
        </pc:spChg>
        <pc:spChg chg="add del">
          <ac:chgData name="Eldert Grootenboer" userId="3fe8758b2c2b58d2" providerId="LiveId" clId="{A299B12E-E556-4FD9-B950-379CF91CEAD0}" dt="2020-07-31T13:12:59.565" v="212" actId="26606"/>
          <ac:spMkLst>
            <pc:docMk/>
            <pc:sldMk cId="2461626383" sldId="258"/>
            <ac:spMk id="36" creationId="{F97E7EA2-EDCD-47E9-81BC-415C606D1B58}"/>
          </ac:spMkLst>
        </pc:spChg>
        <pc:picChg chg="add del mod ord">
          <ac:chgData name="Eldert Grootenboer" userId="3fe8758b2c2b58d2" providerId="LiveId" clId="{A299B12E-E556-4FD9-B950-379CF91CEAD0}" dt="2020-07-31T13:14:05.543" v="230" actId="22"/>
          <ac:picMkLst>
            <pc:docMk/>
            <pc:sldMk cId="2461626383" sldId="258"/>
            <ac:picMk id="4" creationId="{61B30E68-C15D-4EBC-B9D6-7ED773A5E7A8}"/>
          </ac:picMkLst>
        </pc:picChg>
        <pc:picChg chg="add del">
          <ac:chgData name="Eldert Grootenboer" userId="3fe8758b2c2b58d2" providerId="LiveId" clId="{A299B12E-E556-4FD9-B950-379CF91CEAD0}" dt="2020-07-31T13:11:35.938" v="196" actId="26606"/>
          <ac:picMkLst>
            <pc:docMk/>
            <pc:sldMk cId="2461626383" sldId="258"/>
            <ac:picMk id="5" creationId="{4F7B5A10-EBA4-4732-8462-BBCD1871826B}"/>
          </ac:picMkLst>
        </pc:picChg>
        <pc:picChg chg="add del mod">
          <ac:chgData name="Eldert Grootenboer" userId="3fe8758b2c2b58d2" providerId="LiveId" clId="{A299B12E-E556-4FD9-B950-379CF91CEAD0}" dt="2020-07-31T13:12:22.580" v="207" actId="26606"/>
          <ac:picMkLst>
            <pc:docMk/>
            <pc:sldMk cId="2461626383" sldId="258"/>
            <ac:picMk id="7" creationId="{A0361A47-5BB8-4885-87A9-35139CC8ED49}"/>
          </ac:picMkLst>
        </pc:picChg>
        <pc:picChg chg="add del mod">
          <ac:chgData name="Eldert Grootenboer" userId="3fe8758b2c2b58d2" providerId="LiveId" clId="{A299B12E-E556-4FD9-B950-379CF91CEAD0}" dt="2020-07-31T13:12:59.830" v="213" actId="26606"/>
          <ac:picMkLst>
            <pc:docMk/>
            <pc:sldMk cId="2461626383" sldId="258"/>
            <ac:picMk id="16" creationId="{C1345557-500E-46A7-8FFE-C96D5AC9CED7}"/>
          </ac:picMkLst>
        </pc:picChg>
        <pc:picChg chg="add del">
          <ac:chgData name="Eldert Grootenboer" userId="3fe8758b2c2b58d2" providerId="LiveId" clId="{A299B12E-E556-4FD9-B950-379CF91CEAD0}" dt="2020-07-31T13:11:39.730" v="198" actId="26606"/>
          <ac:picMkLst>
            <pc:docMk/>
            <pc:sldMk cId="2461626383" sldId="258"/>
            <ac:picMk id="18" creationId="{E487F5F4-2B1C-4512-9613-D8AC0B58598A}"/>
          </ac:picMkLst>
        </pc:picChg>
      </pc:sldChg>
      <pc:sldChg chg="addSp delSp modSp add mod modTransition modClrScheme delAnim modAnim chgLayout">
        <pc:chgData name="Eldert Grootenboer" userId="3fe8758b2c2b58d2" providerId="LiveId" clId="{A299B12E-E556-4FD9-B950-379CF91CEAD0}" dt="2020-08-19T09:04:04.047" v="3597" actId="114"/>
        <pc:sldMkLst>
          <pc:docMk/>
          <pc:sldMk cId="3934477733" sldId="1620"/>
        </pc:sldMkLst>
        <pc:spChg chg="add mod">
          <ac:chgData name="Eldert Grootenboer" userId="3fe8758b2c2b58d2" providerId="LiveId" clId="{A299B12E-E556-4FD9-B950-379CF91CEAD0}" dt="2020-08-13T12:24:12.605" v="3379" actId="164"/>
          <ac:spMkLst>
            <pc:docMk/>
            <pc:sldMk cId="3934477733" sldId="1620"/>
            <ac:spMk id="2" creationId="{9530FE02-09A0-459D-97EE-55148C02761C}"/>
          </ac:spMkLst>
        </pc:spChg>
        <pc:spChg chg="add del mod ord">
          <ac:chgData name="Eldert Grootenboer" userId="3fe8758b2c2b58d2" providerId="LiveId" clId="{A299B12E-E556-4FD9-B950-379CF91CEAD0}" dt="2020-07-31T13:54:06.287" v="601" actId="700"/>
          <ac:spMkLst>
            <pc:docMk/>
            <pc:sldMk cId="3934477733" sldId="1620"/>
            <ac:spMk id="2" creationId="{DD7FADB7-D7A4-47B0-95E7-82BF92137E2B}"/>
          </ac:spMkLst>
        </pc:spChg>
        <pc:spChg chg="mod ord">
          <ac:chgData name="Eldert Grootenboer" userId="3fe8758b2c2b58d2" providerId="LiveId" clId="{A299B12E-E556-4FD9-B950-379CF91CEAD0}" dt="2020-07-31T13:54:29.265" v="605" actId="207"/>
          <ac:spMkLst>
            <pc:docMk/>
            <pc:sldMk cId="3934477733" sldId="1620"/>
            <ac:spMk id="5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3:59.222" v="599" actId="368"/>
          <ac:spMkLst>
            <pc:docMk/>
            <pc:sldMk cId="3934477733" sldId="1620"/>
            <ac:spMk id="13" creationId="{00000000-0000-0000-0000-000000000000}"/>
          </ac:spMkLst>
        </pc:spChg>
        <pc:spChg chg="mod">
          <ac:chgData name="Eldert Grootenboer" userId="3fe8758b2c2b58d2" providerId="LiveId" clId="{A299B12E-E556-4FD9-B950-379CF91CEAD0}" dt="2020-08-13T12:24:12.605" v="3379" actId="164"/>
          <ac:spMkLst>
            <pc:docMk/>
            <pc:sldMk cId="3934477733" sldId="1620"/>
            <ac:spMk id="17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7:08.556" v="628" actId="208"/>
          <ac:spMkLst>
            <pc:docMk/>
            <pc:sldMk cId="3934477733" sldId="1620"/>
            <ac:spMk id="19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7:12.104" v="629" actId="208"/>
          <ac:spMkLst>
            <pc:docMk/>
            <pc:sldMk cId="3934477733" sldId="1620"/>
            <ac:spMk id="20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5:28.465" v="615" actId="207"/>
          <ac:spMkLst>
            <pc:docMk/>
            <pc:sldMk cId="3934477733" sldId="1620"/>
            <ac:spMk id="21" creationId="{00000000-0000-0000-0000-000000000000}"/>
          </ac:spMkLst>
        </pc:spChg>
        <pc:spChg chg="del">
          <ac:chgData name="Eldert Grootenboer" userId="3fe8758b2c2b58d2" providerId="LiveId" clId="{A299B12E-E556-4FD9-B950-379CF91CEAD0}" dt="2020-07-31T13:52:35.920" v="578" actId="478"/>
          <ac:spMkLst>
            <pc:docMk/>
            <pc:sldMk cId="3934477733" sldId="1620"/>
            <ac:spMk id="51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7:42.814" v="633" actId="207"/>
          <ac:spMkLst>
            <pc:docMk/>
            <pc:sldMk cId="3934477733" sldId="1620"/>
            <ac:spMk id="54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3:59.222" v="599" actId="368"/>
          <ac:spMkLst>
            <pc:docMk/>
            <pc:sldMk cId="3934477733" sldId="1620"/>
            <ac:spMk id="57" creationId="{00000000-0000-0000-0000-000000000000}"/>
          </ac:spMkLst>
        </pc:spChg>
        <pc:spChg chg="del">
          <ac:chgData name="Eldert Grootenboer" userId="3fe8758b2c2b58d2" providerId="LiveId" clId="{A299B12E-E556-4FD9-B950-379CF91CEAD0}" dt="2020-07-31T13:52:47.749" v="582" actId="478"/>
          <ac:spMkLst>
            <pc:docMk/>
            <pc:sldMk cId="3934477733" sldId="1620"/>
            <ac:spMk id="60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5:31.323" v="616" actId="207"/>
          <ac:spMkLst>
            <pc:docMk/>
            <pc:sldMk cId="3934477733" sldId="1620"/>
            <ac:spMk id="62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3:59.222" v="599" actId="368"/>
          <ac:spMkLst>
            <pc:docMk/>
            <pc:sldMk cId="3934477733" sldId="1620"/>
            <ac:spMk id="64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7:50.802" v="635" actId="207"/>
          <ac:spMkLst>
            <pc:docMk/>
            <pc:sldMk cId="3934477733" sldId="1620"/>
            <ac:spMk id="65" creationId="{00000000-0000-0000-0000-000000000000}"/>
          </ac:spMkLst>
        </pc:spChg>
        <pc:spChg chg="del">
          <ac:chgData name="Eldert Grootenboer" userId="3fe8758b2c2b58d2" providerId="LiveId" clId="{A299B12E-E556-4FD9-B950-379CF91CEAD0}" dt="2020-07-31T13:52:24.694" v="574" actId="478"/>
          <ac:spMkLst>
            <pc:docMk/>
            <pc:sldMk cId="3934477733" sldId="1620"/>
            <ac:spMk id="70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3:59.222" v="599" actId="368"/>
          <ac:spMkLst>
            <pc:docMk/>
            <pc:sldMk cId="3934477733" sldId="1620"/>
            <ac:spMk id="73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3:59.222" v="599" actId="368"/>
          <ac:spMkLst>
            <pc:docMk/>
            <pc:sldMk cId="3934477733" sldId="1620"/>
            <ac:spMk id="77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3:57.781" v="596" actId="404"/>
          <ac:spMkLst>
            <pc:docMk/>
            <pc:sldMk cId="3934477733" sldId="1620"/>
            <ac:spMk id="79" creationId="{00000000-0000-0000-0000-000000000000}"/>
          </ac:spMkLst>
        </pc:spChg>
        <pc:spChg chg="add del mod">
          <ac:chgData name="Eldert Grootenboer" userId="3fe8758b2c2b58d2" providerId="LiveId" clId="{A299B12E-E556-4FD9-B950-379CF91CEAD0}" dt="2020-07-31T13:57:32.886" v="631" actId="207"/>
          <ac:spMkLst>
            <pc:docMk/>
            <pc:sldMk cId="3934477733" sldId="1620"/>
            <ac:spMk id="80" creationId="{00000000-0000-0000-0000-000000000000}"/>
          </ac:spMkLst>
        </pc:spChg>
        <pc:spChg chg="mod">
          <ac:chgData name="Eldert Grootenboer" userId="3fe8758b2c2b58d2" providerId="LiveId" clId="{A299B12E-E556-4FD9-B950-379CF91CEAD0}" dt="2020-08-13T12:24:12.605" v="3379" actId="164"/>
          <ac:spMkLst>
            <pc:docMk/>
            <pc:sldMk cId="3934477733" sldId="1620"/>
            <ac:spMk id="81" creationId="{00000000-0000-0000-0000-000000000000}"/>
          </ac:spMkLst>
        </pc:spChg>
        <pc:spChg chg="del">
          <ac:chgData name="Eldert Grootenboer" userId="3fe8758b2c2b58d2" providerId="LiveId" clId="{A299B12E-E556-4FD9-B950-379CF91CEAD0}" dt="2020-07-31T13:52:41.511" v="580" actId="478"/>
          <ac:spMkLst>
            <pc:docMk/>
            <pc:sldMk cId="3934477733" sldId="1620"/>
            <ac:spMk id="82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3:59.222" v="599" actId="368"/>
          <ac:spMkLst>
            <pc:docMk/>
            <pc:sldMk cId="3934477733" sldId="1620"/>
            <ac:spMk id="83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3:59.222" v="599" actId="368"/>
          <ac:spMkLst>
            <pc:docMk/>
            <pc:sldMk cId="3934477733" sldId="1620"/>
            <ac:spMk id="86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7:46.669" v="634" actId="207"/>
          <ac:spMkLst>
            <pc:docMk/>
            <pc:sldMk cId="3934477733" sldId="1620"/>
            <ac:spMk id="87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5:35.111" v="617" actId="207"/>
          <ac:spMkLst>
            <pc:docMk/>
            <pc:sldMk cId="3934477733" sldId="1620"/>
            <ac:spMk id="89" creationId="{00000000-0000-0000-0000-000000000000}"/>
          </ac:spMkLst>
        </pc:spChg>
        <pc:spChg chg="mod">
          <ac:chgData name="Eldert Grootenboer" userId="3fe8758b2c2b58d2" providerId="LiveId" clId="{A299B12E-E556-4FD9-B950-379CF91CEAD0}" dt="2020-08-13T12:24:12.605" v="3379" actId="164"/>
          <ac:spMkLst>
            <pc:docMk/>
            <pc:sldMk cId="3934477733" sldId="1620"/>
            <ac:spMk id="91" creationId="{00000000-0000-0000-0000-000000000000}"/>
          </ac:spMkLst>
        </pc:spChg>
        <pc:spChg chg="del">
          <ac:chgData name="Eldert Grootenboer" userId="3fe8758b2c2b58d2" providerId="LiveId" clId="{A299B12E-E556-4FD9-B950-379CF91CEAD0}" dt="2020-07-31T13:52:30.922" v="576" actId="478"/>
          <ac:spMkLst>
            <pc:docMk/>
            <pc:sldMk cId="3934477733" sldId="1620"/>
            <ac:spMk id="92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6:05.060" v="621" actId="207"/>
          <ac:spMkLst>
            <pc:docMk/>
            <pc:sldMk cId="3934477733" sldId="1620"/>
            <ac:spMk id="93" creationId="{9C2C50F5-0055-4274-9560-0F0702D483BF}"/>
          </ac:spMkLst>
        </pc:spChg>
        <pc:spChg chg="mod">
          <ac:chgData name="Eldert Grootenboer" userId="3fe8758b2c2b58d2" providerId="LiveId" clId="{A299B12E-E556-4FD9-B950-379CF91CEAD0}" dt="2020-07-31T13:58:02.328" v="636" actId="2085"/>
          <ac:spMkLst>
            <pc:docMk/>
            <pc:sldMk cId="3934477733" sldId="1620"/>
            <ac:spMk id="95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5:59.798" v="620" actId="207"/>
          <ac:spMkLst>
            <pc:docMk/>
            <pc:sldMk cId="3934477733" sldId="1620"/>
            <ac:spMk id="96" creationId="{3629AE0A-A79B-490B-A7F1-CF62832C3543}"/>
          </ac:spMkLst>
        </pc:spChg>
        <pc:spChg chg="mod">
          <ac:chgData name="Eldert Grootenboer" userId="3fe8758b2c2b58d2" providerId="LiveId" clId="{A299B12E-E556-4FD9-B950-379CF91CEAD0}" dt="2020-08-12T09:04:18.065" v="2995" actId="20577"/>
          <ac:spMkLst>
            <pc:docMk/>
            <pc:sldMk cId="3934477733" sldId="1620"/>
            <ac:spMk id="97" creationId="{00000000-0000-0000-0000-000000000000}"/>
          </ac:spMkLst>
        </pc:spChg>
        <pc:spChg chg="mod">
          <ac:chgData name="Eldert Grootenboer" userId="3fe8758b2c2b58d2" providerId="LiveId" clId="{A299B12E-E556-4FD9-B950-379CF91CEAD0}" dt="2020-08-19T09:04:04.047" v="3597" actId="114"/>
          <ac:spMkLst>
            <pc:docMk/>
            <pc:sldMk cId="3934477733" sldId="1620"/>
            <ac:spMk id="99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7:39.440" v="632" actId="207"/>
          <ac:spMkLst>
            <pc:docMk/>
            <pc:sldMk cId="3934477733" sldId="1620"/>
            <ac:spMk id="100" creationId="{00000000-0000-0000-0000-000000000000}"/>
          </ac:spMkLst>
        </pc:spChg>
        <pc:spChg chg="mod">
          <ac:chgData name="Eldert Grootenboer" userId="3fe8758b2c2b58d2" providerId="LiveId" clId="{A299B12E-E556-4FD9-B950-379CF91CEAD0}" dt="2020-08-19T09:03:55.392" v="3595" actId="21"/>
          <ac:spMkLst>
            <pc:docMk/>
            <pc:sldMk cId="3934477733" sldId="1620"/>
            <ac:spMk id="102" creationId="{00000000-0000-0000-0000-000000000000}"/>
          </ac:spMkLst>
        </pc:spChg>
        <pc:spChg chg="del">
          <ac:chgData name="Eldert Grootenboer" userId="3fe8758b2c2b58d2" providerId="LiveId" clId="{A299B12E-E556-4FD9-B950-379CF91CEAD0}" dt="2020-08-12T09:03:29.815" v="2946" actId="478"/>
          <ac:spMkLst>
            <pc:docMk/>
            <pc:sldMk cId="3934477733" sldId="1620"/>
            <ac:spMk id="104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5:39.070" v="618" actId="207"/>
          <ac:spMkLst>
            <pc:docMk/>
            <pc:sldMk cId="3934477733" sldId="1620"/>
            <ac:spMk id="107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6:13.269" v="622" actId="207"/>
          <ac:spMkLst>
            <pc:docMk/>
            <pc:sldMk cId="3934477733" sldId="1620"/>
            <ac:spMk id="112" creationId="{72039810-E5C3-4646-B27C-4D505D347FB8}"/>
          </ac:spMkLst>
        </pc:spChg>
        <pc:spChg chg="mod">
          <ac:chgData name="Eldert Grootenboer" userId="3fe8758b2c2b58d2" providerId="LiveId" clId="{A299B12E-E556-4FD9-B950-379CF91CEAD0}" dt="2020-07-31T13:56:13.269" v="622" actId="207"/>
          <ac:spMkLst>
            <pc:docMk/>
            <pc:sldMk cId="3934477733" sldId="1620"/>
            <ac:spMk id="113" creationId="{24C1896E-9891-48C5-9C73-1116B9F9ECD7}"/>
          </ac:spMkLst>
        </pc:spChg>
        <pc:spChg chg="mod">
          <ac:chgData name="Eldert Grootenboer" userId="3fe8758b2c2b58d2" providerId="LiveId" clId="{A299B12E-E556-4FD9-B950-379CF91CEAD0}" dt="2020-07-31T13:55:18.678" v="613" actId="207"/>
          <ac:spMkLst>
            <pc:docMk/>
            <pc:sldMk cId="3934477733" sldId="1620"/>
            <ac:spMk id="114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8:11.120" v="637" actId="2085"/>
          <ac:spMkLst>
            <pc:docMk/>
            <pc:sldMk cId="3934477733" sldId="1620"/>
            <ac:spMk id="115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3:59.222" v="599" actId="368"/>
          <ac:spMkLst>
            <pc:docMk/>
            <pc:sldMk cId="3934477733" sldId="1620"/>
            <ac:spMk id="117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3:59.222" v="599" actId="368"/>
          <ac:spMkLst>
            <pc:docMk/>
            <pc:sldMk cId="3934477733" sldId="1620"/>
            <ac:spMk id="120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3:59.222" v="599" actId="368"/>
          <ac:spMkLst>
            <pc:docMk/>
            <pc:sldMk cId="3934477733" sldId="1620"/>
            <ac:spMk id="122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6:19.798" v="623" actId="207"/>
          <ac:spMkLst>
            <pc:docMk/>
            <pc:sldMk cId="3934477733" sldId="1620"/>
            <ac:spMk id="125" creationId="{B452F556-6BBB-4EE7-BBA4-EDB454E0130B}"/>
          </ac:spMkLst>
        </pc:spChg>
        <pc:spChg chg="mod">
          <ac:chgData name="Eldert Grootenboer" userId="3fe8758b2c2b58d2" providerId="LiveId" clId="{A299B12E-E556-4FD9-B950-379CF91CEAD0}" dt="2020-07-31T13:56:19.798" v="623" actId="207"/>
          <ac:spMkLst>
            <pc:docMk/>
            <pc:sldMk cId="3934477733" sldId="1620"/>
            <ac:spMk id="126" creationId="{BF68AA4D-FA52-4B4F-952D-F8D75C067A3B}"/>
          </ac:spMkLst>
        </pc:spChg>
        <pc:spChg chg="mod">
          <ac:chgData name="Eldert Grootenboer" userId="3fe8758b2c2b58d2" providerId="LiveId" clId="{A299B12E-E556-4FD9-B950-379CF91CEAD0}" dt="2020-07-31T13:56:26.401" v="624" actId="207"/>
          <ac:spMkLst>
            <pc:docMk/>
            <pc:sldMk cId="3934477733" sldId="1620"/>
            <ac:spMk id="128" creationId="{A6D758E7-2B1E-431A-9A78-80C89CE3974F}"/>
          </ac:spMkLst>
        </pc:spChg>
        <pc:spChg chg="mod">
          <ac:chgData name="Eldert Grootenboer" userId="3fe8758b2c2b58d2" providerId="LiveId" clId="{A299B12E-E556-4FD9-B950-379CF91CEAD0}" dt="2020-07-31T13:56:26.401" v="624" actId="207"/>
          <ac:spMkLst>
            <pc:docMk/>
            <pc:sldMk cId="3934477733" sldId="1620"/>
            <ac:spMk id="129" creationId="{7B8DE745-4694-4D56-971C-609BBF6B14F6}"/>
          </ac:spMkLst>
        </pc:spChg>
        <pc:spChg chg="mod">
          <ac:chgData name="Eldert Grootenboer" userId="3fe8758b2c2b58d2" providerId="LiveId" clId="{A299B12E-E556-4FD9-B950-379CF91CEAD0}" dt="2020-07-31T13:56:36.708" v="625" actId="207"/>
          <ac:spMkLst>
            <pc:docMk/>
            <pc:sldMk cId="3934477733" sldId="1620"/>
            <ac:spMk id="131" creationId="{B10AD9AA-051D-4EF1-881F-86F48B96F406}"/>
          </ac:spMkLst>
        </pc:spChg>
        <pc:spChg chg="mod">
          <ac:chgData name="Eldert Grootenboer" userId="3fe8758b2c2b58d2" providerId="LiveId" clId="{A299B12E-E556-4FD9-B950-379CF91CEAD0}" dt="2020-07-31T13:56:36.708" v="625" actId="207"/>
          <ac:spMkLst>
            <pc:docMk/>
            <pc:sldMk cId="3934477733" sldId="1620"/>
            <ac:spMk id="132" creationId="{788E2C36-E97F-4B1D-B1E4-658ED36C010A}"/>
          </ac:spMkLst>
        </pc:spChg>
        <pc:spChg chg="mod">
          <ac:chgData name="Eldert Grootenboer" userId="3fe8758b2c2b58d2" providerId="LiveId" clId="{A299B12E-E556-4FD9-B950-379CF91CEAD0}" dt="2020-07-31T13:53:59.222" v="599" actId="368"/>
          <ac:spMkLst>
            <pc:docMk/>
            <pc:sldMk cId="3934477733" sldId="1620"/>
            <ac:spMk id="133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3:59.222" v="599" actId="368"/>
          <ac:spMkLst>
            <pc:docMk/>
            <pc:sldMk cId="3934477733" sldId="1620"/>
            <ac:spMk id="134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3:59.222" v="599" actId="368"/>
          <ac:spMkLst>
            <pc:docMk/>
            <pc:sldMk cId="3934477733" sldId="1620"/>
            <ac:spMk id="138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3:53:59.222" v="599" actId="368"/>
          <ac:spMkLst>
            <pc:docMk/>
            <pc:sldMk cId="3934477733" sldId="1620"/>
            <ac:spMk id="140" creationId="{00000000-0000-0000-0000-000000000000}"/>
          </ac:spMkLst>
        </pc:spChg>
        <pc:spChg chg="del">
          <ac:chgData name="Eldert Grootenboer" userId="3fe8758b2c2b58d2" providerId="LiveId" clId="{A299B12E-E556-4FD9-B950-379CF91CEAD0}" dt="2020-07-31T13:52:02.187" v="568" actId="478"/>
          <ac:spMkLst>
            <pc:docMk/>
            <pc:sldMk cId="3934477733" sldId="1620"/>
            <ac:spMk id="170" creationId="{00000000-0000-0000-0000-000000000000}"/>
          </ac:spMkLst>
        </pc:spChg>
        <pc:spChg chg="del">
          <ac:chgData name="Eldert Grootenboer" userId="3fe8758b2c2b58d2" providerId="LiveId" clId="{A299B12E-E556-4FD9-B950-379CF91CEAD0}" dt="2020-07-31T13:52:04.389" v="569" actId="478"/>
          <ac:spMkLst>
            <pc:docMk/>
            <pc:sldMk cId="3934477733" sldId="1620"/>
            <ac:spMk id="171" creationId="{00000000-0000-0000-0000-000000000000}"/>
          </ac:spMkLst>
        </pc:spChg>
        <pc:spChg chg="del">
          <ac:chgData name="Eldert Grootenboer" userId="3fe8758b2c2b58d2" providerId="LiveId" clId="{A299B12E-E556-4FD9-B950-379CF91CEAD0}" dt="2020-07-31T13:52:06.086" v="570" actId="478"/>
          <ac:spMkLst>
            <pc:docMk/>
            <pc:sldMk cId="3934477733" sldId="1620"/>
            <ac:spMk id="172" creationId="{00000000-0000-0000-0000-000000000000}"/>
          </ac:spMkLst>
        </pc:spChg>
        <pc:grpChg chg="add del mod">
          <ac:chgData name="Eldert Grootenboer" userId="3fe8758b2c2b58d2" providerId="LiveId" clId="{A299B12E-E556-4FD9-B950-379CF91CEAD0}" dt="2020-07-31T13:54:29.265" v="605" actId="207"/>
          <ac:grpSpMkLst>
            <pc:docMk/>
            <pc:sldMk cId="3934477733" sldId="1620"/>
            <ac:grpSpMk id="8" creationId="{C3DB683A-B8D9-4244-845C-1C46D88DF3A6}"/>
          </ac:grpSpMkLst>
        </pc:grpChg>
        <pc:grpChg chg="mod">
          <ac:chgData name="Eldert Grootenboer" userId="3fe8758b2c2b58d2" providerId="LiveId" clId="{A299B12E-E556-4FD9-B950-379CF91CEAD0}" dt="2020-07-31T13:53:59.222" v="599" actId="368"/>
          <ac:grpSpMkLst>
            <pc:docMk/>
            <pc:sldMk cId="3934477733" sldId="1620"/>
            <ac:grpSpMk id="10" creationId="{353FB77B-24EB-4166-8242-1FB48779FE39}"/>
          </ac:grpSpMkLst>
        </pc:grpChg>
        <pc:grpChg chg="mod">
          <ac:chgData name="Eldert Grootenboer" userId="3fe8758b2c2b58d2" providerId="LiveId" clId="{A299B12E-E556-4FD9-B950-379CF91CEAD0}" dt="2020-07-31T13:53:59.222" v="599" actId="368"/>
          <ac:grpSpMkLst>
            <pc:docMk/>
            <pc:sldMk cId="3934477733" sldId="1620"/>
            <ac:grpSpMk id="11" creationId="{1191C108-7039-4FFB-A509-C44EA3D3D461}"/>
          </ac:grpSpMkLst>
        </pc:grpChg>
        <pc:grpChg chg="mod">
          <ac:chgData name="Eldert Grootenboer" userId="3fe8758b2c2b58d2" providerId="LiveId" clId="{A299B12E-E556-4FD9-B950-379CF91CEAD0}" dt="2020-07-31T13:53:59.222" v="599" actId="368"/>
          <ac:grpSpMkLst>
            <pc:docMk/>
            <pc:sldMk cId="3934477733" sldId="1620"/>
            <ac:grpSpMk id="12" creationId="{0209C1A5-AF58-43BF-A04B-D634DC4E7B8F}"/>
          </ac:grpSpMkLst>
        </pc:grpChg>
        <pc:grpChg chg="mod">
          <ac:chgData name="Eldert Grootenboer" userId="3fe8758b2c2b58d2" providerId="LiveId" clId="{A299B12E-E556-4FD9-B950-379CF91CEAD0}" dt="2020-07-31T13:54:29.265" v="605" actId="207"/>
          <ac:grpSpMkLst>
            <pc:docMk/>
            <pc:sldMk cId="3934477733" sldId="1620"/>
            <ac:grpSpMk id="15" creationId="{6FDFEA70-DB2C-4D64-BDD9-2142E9438860}"/>
          </ac:grpSpMkLst>
        </pc:grpChg>
        <pc:grpChg chg="mod">
          <ac:chgData name="Eldert Grootenboer" userId="3fe8758b2c2b58d2" providerId="LiveId" clId="{A299B12E-E556-4FD9-B950-379CF91CEAD0}" dt="2020-07-31T13:55:14.541" v="612" actId="207"/>
          <ac:grpSpMkLst>
            <pc:docMk/>
            <pc:sldMk cId="3934477733" sldId="1620"/>
            <ac:grpSpMk id="18" creationId="{03553559-A89E-4D07-A8E6-50B3B5595CF2}"/>
          </ac:grpSpMkLst>
        </pc:grpChg>
        <pc:grpChg chg="mod">
          <ac:chgData name="Eldert Grootenboer" userId="3fe8758b2c2b58d2" providerId="LiveId" clId="{A299B12E-E556-4FD9-B950-379CF91CEAD0}" dt="2020-07-31T13:53:59.222" v="599" actId="368"/>
          <ac:grpSpMkLst>
            <pc:docMk/>
            <pc:sldMk cId="3934477733" sldId="1620"/>
            <ac:grpSpMk id="22" creationId="{00000000-0000-0000-0000-000000000000}"/>
          </ac:grpSpMkLst>
        </pc:grpChg>
        <pc:grpChg chg="mod">
          <ac:chgData name="Eldert Grootenboer" userId="3fe8758b2c2b58d2" providerId="LiveId" clId="{A299B12E-E556-4FD9-B950-379CF91CEAD0}" dt="2020-07-31T13:53:59.222" v="599" actId="368"/>
          <ac:grpSpMkLst>
            <pc:docMk/>
            <pc:sldMk cId="3934477733" sldId="1620"/>
            <ac:grpSpMk id="24" creationId="{B8FD9C31-AD0C-4D39-85B8-B7C5D469D801}"/>
          </ac:grpSpMkLst>
        </pc:grpChg>
        <pc:grpChg chg="mod">
          <ac:chgData name="Eldert Grootenboer" userId="3fe8758b2c2b58d2" providerId="LiveId" clId="{A299B12E-E556-4FD9-B950-379CF91CEAD0}" dt="2020-07-31T13:53:59.222" v="599" actId="368"/>
          <ac:grpSpMkLst>
            <pc:docMk/>
            <pc:sldMk cId="3934477733" sldId="1620"/>
            <ac:grpSpMk id="25" creationId="{7B6BA74C-3395-4F77-865D-0C3B6B8E9E84}"/>
          </ac:grpSpMkLst>
        </pc:grpChg>
        <pc:grpChg chg="mod">
          <ac:chgData name="Eldert Grootenboer" userId="3fe8758b2c2b58d2" providerId="LiveId" clId="{A299B12E-E556-4FD9-B950-379CF91CEAD0}" dt="2020-07-31T13:53:59.222" v="599" actId="368"/>
          <ac:grpSpMkLst>
            <pc:docMk/>
            <pc:sldMk cId="3934477733" sldId="1620"/>
            <ac:grpSpMk id="26" creationId="{A0A11364-6BD8-4089-A618-10D16930777D}"/>
          </ac:grpSpMkLst>
        </pc:grpChg>
        <pc:grpChg chg="mod">
          <ac:chgData name="Eldert Grootenboer" userId="3fe8758b2c2b58d2" providerId="LiveId" clId="{A299B12E-E556-4FD9-B950-379CF91CEAD0}" dt="2020-08-13T12:24:12.605" v="3379" actId="164"/>
          <ac:grpSpMkLst>
            <pc:docMk/>
            <pc:sldMk cId="3934477733" sldId="1620"/>
            <ac:grpSpMk id="28" creationId="{E813D4AA-2BC1-470E-B476-E0BA1692B088}"/>
          </ac:grpSpMkLst>
        </pc:grpChg>
        <pc:grpChg chg="mod">
          <ac:chgData name="Eldert Grootenboer" userId="3fe8758b2c2b58d2" providerId="LiveId" clId="{A299B12E-E556-4FD9-B950-379CF91CEAD0}" dt="2020-07-31T13:54:29.265" v="605" actId="207"/>
          <ac:grpSpMkLst>
            <pc:docMk/>
            <pc:sldMk cId="3934477733" sldId="1620"/>
            <ac:grpSpMk id="29" creationId="{034927FD-1972-4C08-9FCB-B6FA57508D41}"/>
          </ac:grpSpMkLst>
        </pc:grpChg>
        <pc:grpChg chg="del">
          <ac:chgData name="Eldert Grootenboer" userId="3fe8758b2c2b58d2" providerId="LiveId" clId="{A299B12E-E556-4FD9-B950-379CF91CEAD0}" dt="2020-07-31T13:52:47.749" v="582" actId="478"/>
          <ac:grpSpMkLst>
            <pc:docMk/>
            <pc:sldMk cId="3934477733" sldId="1620"/>
            <ac:grpSpMk id="30" creationId="{00000000-0000-0000-0000-000000000000}"/>
          </ac:grpSpMkLst>
        </pc:grpChg>
        <pc:grpChg chg="add mod">
          <ac:chgData name="Eldert Grootenboer" userId="3fe8758b2c2b58d2" providerId="LiveId" clId="{A299B12E-E556-4FD9-B950-379CF91CEAD0}" dt="2020-08-13T12:24:12.605" v="3379" actId="164"/>
          <ac:grpSpMkLst>
            <pc:docMk/>
            <pc:sldMk cId="3934477733" sldId="1620"/>
            <ac:grpSpMk id="30" creationId="{0BD9E3E1-5973-41C5-B759-1AFAB68AB5BB}"/>
          </ac:grpSpMkLst>
        </pc:grpChg>
        <pc:grpChg chg="del">
          <ac:chgData name="Eldert Grootenboer" userId="3fe8758b2c2b58d2" providerId="LiveId" clId="{A299B12E-E556-4FD9-B950-379CF91CEAD0}" dt="2020-07-31T13:52:41.511" v="580" actId="478"/>
          <ac:grpSpMkLst>
            <pc:docMk/>
            <pc:sldMk cId="3934477733" sldId="1620"/>
            <ac:grpSpMk id="31" creationId="{00000000-0000-0000-0000-000000000000}"/>
          </ac:grpSpMkLst>
        </pc:grpChg>
        <pc:grpChg chg="del">
          <ac:chgData name="Eldert Grootenboer" userId="3fe8758b2c2b58d2" providerId="LiveId" clId="{A299B12E-E556-4FD9-B950-379CF91CEAD0}" dt="2020-07-31T13:52:35.920" v="578" actId="478"/>
          <ac:grpSpMkLst>
            <pc:docMk/>
            <pc:sldMk cId="3934477733" sldId="1620"/>
            <ac:grpSpMk id="32" creationId="{00000000-0000-0000-0000-000000000000}"/>
          </ac:grpSpMkLst>
        </pc:grpChg>
        <pc:grpChg chg="del">
          <ac:chgData name="Eldert Grootenboer" userId="3fe8758b2c2b58d2" providerId="LiveId" clId="{A299B12E-E556-4FD9-B950-379CF91CEAD0}" dt="2020-07-31T13:52:30.922" v="576" actId="478"/>
          <ac:grpSpMkLst>
            <pc:docMk/>
            <pc:sldMk cId="3934477733" sldId="1620"/>
            <ac:grpSpMk id="33" creationId="{00000000-0000-0000-0000-000000000000}"/>
          </ac:grpSpMkLst>
        </pc:grpChg>
        <pc:grpChg chg="mod">
          <ac:chgData name="Eldert Grootenboer" userId="3fe8758b2c2b58d2" providerId="LiveId" clId="{A299B12E-E556-4FD9-B950-379CF91CEAD0}" dt="2020-07-31T13:54:29.265" v="605" actId="207"/>
          <ac:grpSpMkLst>
            <pc:docMk/>
            <pc:sldMk cId="3934477733" sldId="1620"/>
            <ac:grpSpMk id="34" creationId="{015611C8-1869-4BBC-8A09-E965065EC8F3}"/>
          </ac:grpSpMkLst>
        </pc:grpChg>
        <pc:grpChg chg="mod">
          <ac:chgData name="Eldert Grootenboer" userId="3fe8758b2c2b58d2" providerId="LiveId" clId="{A299B12E-E556-4FD9-B950-379CF91CEAD0}" dt="2020-07-31T13:53:59.222" v="599" actId="368"/>
          <ac:grpSpMkLst>
            <pc:docMk/>
            <pc:sldMk cId="3934477733" sldId="1620"/>
            <ac:grpSpMk id="41" creationId="{00000000-0000-0000-0000-000000000000}"/>
          </ac:grpSpMkLst>
        </pc:grpChg>
        <pc:grpChg chg="mod">
          <ac:chgData name="Eldert Grootenboer" userId="3fe8758b2c2b58d2" providerId="LiveId" clId="{A299B12E-E556-4FD9-B950-379CF91CEAD0}" dt="2020-07-31T13:53:59.222" v="599" actId="368"/>
          <ac:grpSpMkLst>
            <pc:docMk/>
            <pc:sldMk cId="3934477733" sldId="1620"/>
            <ac:grpSpMk id="48" creationId="{00000000-0000-0000-0000-000000000000}"/>
          </ac:grpSpMkLst>
        </pc:grpChg>
        <pc:grpChg chg="mod">
          <ac:chgData name="Eldert Grootenboer" userId="3fe8758b2c2b58d2" providerId="LiveId" clId="{A299B12E-E556-4FD9-B950-379CF91CEAD0}" dt="2020-07-31T13:53:59.222" v="599" actId="368"/>
          <ac:grpSpMkLst>
            <pc:docMk/>
            <pc:sldMk cId="3934477733" sldId="1620"/>
            <ac:grpSpMk id="124" creationId="{B4C8770B-619B-478E-9A39-8CE904E3DFDB}"/>
          </ac:grpSpMkLst>
        </pc:grpChg>
        <pc:grpChg chg="mod">
          <ac:chgData name="Eldert Grootenboer" userId="3fe8758b2c2b58d2" providerId="LiveId" clId="{A299B12E-E556-4FD9-B950-379CF91CEAD0}" dt="2020-07-31T13:53:59.222" v="599" actId="368"/>
          <ac:grpSpMkLst>
            <pc:docMk/>
            <pc:sldMk cId="3934477733" sldId="1620"/>
            <ac:grpSpMk id="127" creationId="{31700B75-9955-44E0-B5E0-1910C9AA0D97}"/>
          </ac:grpSpMkLst>
        </pc:grpChg>
        <pc:grpChg chg="mod">
          <ac:chgData name="Eldert Grootenboer" userId="3fe8758b2c2b58d2" providerId="LiveId" clId="{A299B12E-E556-4FD9-B950-379CF91CEAD0}" dt="2020-07-31T13:53:59.222" v="599" actId="368"/>
          <ac:grpSpMkLst>
            <pc:docMk/>
            <pc:sldMk cId="3934477733" sldId="1620"/>
            <ac:grpSpMk id="130" creationId="{F3732E56-E6C0-4E82-9C15-FFB73134CF4A}"/>
          </ac:grpSpMkLst>
        </pc:grpChg>
        <pc:graphicFrameChg chg="mod">
          <ac:chgData name="Eldert Grootenboer" userId="3fe8758b2c2b58d2" providerId="LiveId" clId="{A299B12E-E556-4FD9-B950-379CF91CEAD0}" dt="2020-07-31T13:54:29.265" v="605" actId="207"/>
          <ac:graphicFrameMkLst>
            <pc:docMk/>
            <pc:sldMk cId="3934477733" sldId="1620"/>
            <ac:graphicFrameMk id="3" creationId="{00000000-0000-0000-0000-000000000000}"/>
          </ac:graphicFrameMkLst>
        </pc:graphicFrameChg>
        <pc:graphicFrameChg chg="mod modGraphic">
          <ac:chgData name="Eldert Grootenboer" userId="3fe8758b2c2b58d2" providerId="LiveId" clId="{A299B12E-E556-4FD9-B950-379CF91CEAD0}" dt="2020-08-12T09:03:37.815" v="2947" actId="14734"/>
          <ac:graphicFrameMkLst>
            <pc:docMk/>
            <pc:sldMk cId="3934477733" sldId="1620"/>
            <ac:graphicFrameMk id="75" creationId="{00000000-0000-0000-0000-000000000000}"/>
          </ac:graphicFrameMkLst>
        </pc:graphicFrameChg>
        <pc:picChg chg="mod">
          <ac:chgData name="Eldert Grootenboer" userId="3fe8758b2c2b58d2" providerId="LiveId" clId="{A299B12E-E556-4FD9-B950-379CF91CEAD0}" dt="2020-07-31T13:54:29.265" v="605" actId="207"/>
          <ac:picMkLst>
            <pc:docMk/>
            <pc:sldMk cId="3934477733" sldId="1620"/>
            <ac:picMk id="7" creationId="{00000000-0000-0000-0000-000000000000}"/>
          </ac:picMkLst>
        </pc:picChg>
        <pc:picChg chg="mod">
          <ac:chgData name="Eldert Grootenboer" userId="3fe8758b2c2b58d2" providerId="LiveId" clId="{A299B12E-E556-4FD9-B950-379CF91CEAD0}" dt="2020-07-31T13:53:59.222" v="599" actId="368"/>
          <ac:picMkLst>
            <pc:docMk/>
            <pc:sldMk cId="3934477733" sldId="1620"/>
            <ac:picMk id="119" creationId="{00000000-0000-0000-0000-000000000000}"/>
          </ac:picMkLst>
        </pc:picChg>
        <pc:picChg chg="mod">
          <ac:chgData name="Eldert Grootenboer" userId="3fe8758b2c2b58d2" providerId="LiveId" clId="{A299B12E-E556-4FD9-B950-379CF91CEAD0}" dt="2020-07-31T13:53:59.222" v="599" actId="368"/>
          <ac:picMkLst>
            <pc:docMk/>
            <pc:sldMk cId="3934477733" sldId="1620"/>
            <ac:picMk id="121" creationId="{00000000-0000-0000-0000-000000000000}"/>
          </ac:picMkLst>
        </pc:picChg>
        <pc:picChg chg="mod">
          <ac:chgData name="Eldert Grootenboer" userId="3fe8758b2c2b58d2" providerId="LiveId" clId="{A299B12E-E556-4FD9-B950-379CF91CEAD0}" dt="2020-07-31T13:53:59.222" v="599" actId="368"/>
          <ac:picMkLst>
            <pc:docMk/>
            <pc:sldMk cId="3934477733" sldId="1620"/>
            <ac:picMk id="123" creationId="{00000000-0000-0000-0000-000000000000}"/>
          </ac:picMkLst>
        </pc:picChg>
        <pc:picChg chg="mod">
          <ac:chgData name="Eldert Grootenboer" userId="3fe8758b2c2b58d2" providerId="LiveId" clId="{A299B12E-E556-4FD9-B950-379CF91CEAD0}" dt="2020-07-31T13:53:59.222" v="599" actId="368"/>
          <ac:picMkLst>
            <pc:docMk/>
            <pc:sldMk cId="3934477733" sldId="1620"/>
            <ac:picMk id="139" creationId="{92D8972E-5205-4392-8A1D-EDE03B2E169F}"/>
          </ac:picMkLst>
        </pc:picChg>
        <pc:picChg chg="mod">
          <ac:chgData name="Eldert Grootenboer" userId="3fe8758b2c2b58d2" providerId="LiveId" clId="{A299B12E-E556-4FD9-B950-379CF91CEAD0}" dt="2020-07-31T13:53:59.222" v="599" actId="368"/>
          <ac:picMkLst>
            <pc:docMk/>
            <pc:sldMk cId="3934477733" sldId="1620"/>
            <ac:picMk id="141" creationId="{22E2DE7C-C155-4B91-B98D-0B1DC52E6DAA}"/>
          </ac:picMkLst>
        </pc:picChg>
        <pc:picChg chg="mod">
          <ac:chgData name="Eldert Grootenboer" userId="3fe8758b2c2b58d2" providerId="LiveId" clId="{A299B12E-E556-4FD9-B950-379CF91CEAD0}" dt="2020-07-31T13:53:59.222" v="599" actId="368"/>
          <ac:picMkLst>
            <pc:docMk/>
            <pc:sldMk cId="3934477733" sldId="1620"/>
            <ac:picMk id="142" creationId="{A3BBDE4D-9328-4813-9964-AFDBEE7992D3}"/>
          </ac:picMkLst>
        </pc:picChg>
      </pc:sldChg>
      <pc:sldChg chg="addSp delSp modSp add del mod modTransition setBg modAnim">
        <pc:chgData name="Eldert Grootenboer" userId="3fe8758b2c2b58d2" providerId="LiveId" clId="{A299B12E-E556-4FD9-B950-379CF91CEAD0}" dt="2020-08-18T14:02:29.815" v="3423"/>
        <pc:sldMkLst>
          <pc:docMk/>
          <pc:sldMk cId="2743749799" sldId="1863"/>
        </pc:sldMkLst>
        <pc:spChg chg="mod">
          <ac:chgData name="Eldert Grootenboer" userId="3fe8758b2c2b58d2" providerId="LiveId" clId="{A299B12E-E556-4FD9-B950-379CF91CEAD0}" dt="2020-07-31T12:57:18.139" v="77" actId="404"/>
          <ac:spMkLst>
            <pc:docMk/>
            <pc:sldMk cId="2743749799" sldId="1863"/>
            <ac:spMk id="7" creationId="{00000000-0000-0000-0000-000000000000}"/>
          </ac:spMkLst>
        </pc:spChg>
        <pc:spChg chg="mod">
          <ac:chgData name="Eldert Grootenboer" userId="3fe8758b2c2b58d2" providerId="LiveId" clId="{A299B12E-E556-4FD9-B950-379CF91CEAD0}" dt="2020-07-31T12:58:03.486" v="90" actId="207"/>
          <ac:spMkLst>
            <pc:docMk/>
            <pc:sldMk cId="2743749799" sldId="1863"/>
            <ac:spMk id="8" creationId="{00000000-0000-0000-0000-000000000000}"/>
          </ac:spMkLst>
        </pc:spChg>
        <pc:picChg chg="add mod ord">
          <ac:chgData name="Eldert Grootenboer" userId="3fe8758b2c2b58d2" providerId="LiveId" clId="{A299B12E-E556-4FD9-B950-379CF91CEAD0}" dt="2020-08-18T14:02:00.881" v="3421" actId="1038"/>
          <ac:picMkLst>
            <pc:docMk/>
            <pc:sldMk cId="2743749799" sldId="1863"/>
            <ac:picMk id="5" creationId="{F69ADE5B-55E9-485D-8E7E-BB3EA9D2B065}"/>
          </ac:picMkLst>
        </pc:picChg>
        <pc:picChg chg="del">
          <ac:chgData name="Eldert Grootenboer" userId="3fe8758b2c2b58d2" providerId="LiveId" clId="{A299B12E-E556-4FD9-B950-379CF91CEAD0}" dt="2020-08-18T14:01:54.244" v="3412" actId="478"/>
          <ac:picMkLst>
            <pc:docMk/>
            <pc:sldMk cId="2743749799" sldId="1863"/>
            <ac:picMk id="1026" creationId="{00000000-0000-0000-0000-000000000000}"/>
          </ac:picMkLst>
        </pc:picChg>
      </pc:sldChg>
      <pc:sldChg chg="add del setBg">
        <pc:chgData name="Eldert Grootenboer" userId="3fe8758b2c2b58d2" providerId="LiveId" clId="{A299B12E-E556-4FD9-B950-379CF91CEAD0}" dt="2020-07-31T12:54:11.479" v="15" actId="47"/>
        <pc:sldMkLst>
          <pc:docMk/>
          <pc:sldMk cId="2295473396" sldId="1869"/>
        </pc:sldMkLst>
      </pc:sldChg>
      <pc:sldChg chg="add del setBg">
        <pc:chgData name="Eldert Grootenboer" userId="3fe8758b2c2b58d2" providerId="LiveId" clId="{A299B12E-E556-4FD9-B950-379CF91CEAD0}" dt="2020-07-31T12:53:57.636" v="11"/>
        <pc:sldMkLst>
          <pc:docMk/>
          <pc:sldMk cId="1201330632" sldId="1870"/>
        </pc:sldMkLst>
      </pc:sldChg>
      <pc:sldChg chg="add modTransition setBg modAnim">
        <pc:chgData name="Eldert Grootenboer" userId="3fe8758b2c2b58d2" providerId="LiveId" clId="{A299B12E-E556-4FD9-B950-379CF91CEAD0}" dt="2020-08-18T14:02:21.306" v="3422"/>
        <pc:sldMkLst>
          <pc:docMk/>
          <pc:sldMk cId="4263392662" sldId="1870"/>
        </pc:sldMkLst>
      </pc:sldChg>
      <pc:sldChg chg="add modTransition">
        <pc:chgData name="Eldert Grootenboer" userId="3fe8758b2c2b58d2" providerId="LiveId" clId="{A299B12E-E556-4FD9-B950-379CF91CEAD0}" dt="2020-08-01T13:12:42.307" v="2524"/>
        <pc:sldMkLst>
          <pc:docMk/>
          <pc:sldMk cId="891752123" sldId="1997"/>
        </pc:sldMkLst>
      </pc:sldChg>
      <pc:sldChg chg="addSp delSp modSp new del mod setBg modClrScheme chgLayout">
        <pc:chgData name="Eldert Grootenboer" userId="3fe8758b2c2b58d2" providerId="LiveId" clId="{A299B12E-E556-4FD9-B950-379CF91CEAD0}" dt="2020-07-31T13:50:12.807" v="534" actId="47"/>
        <pc:sldMkLst>
          <pc:docMk/>
          <pc:sldMk cId="1668865571" sldId="1998"/>
        </pc:sldMkLst>
        <pc:spChg chg="mod ord">
          <ac:chgData name="Eldert Grootenboer" userId="3fe8758b2c2b58d2" providerId="LiveId" clId="{A299B12E-E556-4FD9-B950-379CF91CEAD0}" dt="2020-07-31T13:06:18.744" v="167" actId="26606"/>
          <ac:spMkLst>
            <pc:docMk/>
            <pc:sldMk cId="1668865571" sldId="1998"/>
            <ac:spMk id="2" creationId="{5C13A10B-FA01-4E6E-A29C-3CC7932197F1}"/>
          </ac:spMkLst>
        </pc:spChg>
        <pc:spChg chg="add del mod ord">
          <ac:chgData name="Eldert Grootenboer" userId="3fe8758b2c2b58d2" providerId="LiveId" clId="{A299B12E-E556-4FD9-B950-379CF91CEAD0}" dt="2020-07-31T13:06:43.043" v="174" actId="22"/>
          <ac:spMkLst>
            <pc:docMk/>
            <pc:sldMk cId="1668865571" sldId="1998"/>
            <ac:spMk id="3" creationId="{A7B02691-7F23-4FA8-8767-13B4FD5AA345}"/>
          </ac:spMkLst>
        </pc:spChg>
        <pc:spChg chg="mod topLvl">
          <ac:chgData name="Eldert Grootenboer" userId="3fe8758b2c2b58d2" providerId="LiveId" clId="{A299B12E-E556-4FD9-B950-379CF91CEAD0}" dt="2020-07-31T13:07:52.239" v="181" actId="164"/>
          <ac:spMkLst>
            <pc:docMk/>
            <pc:sldMk cId="1668865571" sldId="1998"/>
            <ac:spMk id="9" creationId="{F4652ADB-3051-4213-9296-5BF382BF08A7}"/>
          </ac:spMkLst>
        </pc:spChg>
        <pc:spChg chg="mod topLvl">
          <ac:chgData name="Eldert Grootenboer" userId="3fe8758b2c2b58d2" providerId="LiveId" clId="{A299B12E-E556-4FD9-B950-379CF91CEAD0}" dt="2020-07-31T13:21:56.651" v="313" actId="403"/>
          <ac:spMkLst>
            <pc:docMk/>
            <pc:sldMk cId="1668865571" sldId="1998"/>
            <ac:spMk id="10" creationId="{1A31B75E-CFD8-4722-AEEB-22C170B81B30}"/>
          </ac:spMkLst>
        </pc:spChg>
        <pc:spChg chg="mod topLvl">
          <ac:chgData name="Eldert Grootenboer" userId="3fe8758b2c2b58d2" providerId="LiveId" clId="{A299B12E-E556-4FD9-B950-379CF91CEAD0}" dt="2020-07-31T13:07:59.989" v="182" actId="164"/>
          <ac:spMkLst>
            <pc:docMk/>
            <pc:sldMk cId="1668865571" sldId="1998"/>
            <ac:spMk id="11" creationId="{2B46ED0D-19CE-4223-88CE-5C14A8ED7CD5}"/>
          </ac:spMkLst>
        </pc:spChg>
        <pc:spChg chg="mod topLvl">
          <ac:chgData name="Eldert Grootenboer" userId="3fe8758b2c2b58d2" providerId="LiveId" clId="{A299B12E-E556-4FD9-B950-379CF91CEAD0}" dt="2020-07-31T13:21:56.651" v="313" actId="403"/>
          <ac:spMkLst>
            <pc:docMk/>
            <pc:sldMk cId="1668865571" sldId="1998"/>
            <ac:spMk id="12" creationId="{FB2A4537-A06D-4665-BC34-B7E1AECF4AEC}"/>
          </ac:spMkLst>
        </pc:spChg>
        <pc:spChg chg="mod topLvl">
          <ac:chgData name="Eldert Grootenboer" userId="3fe8758b2c2b58d2" providerId="LiveId" clId="{A299B12E-E556-4FD9-B950-379CF91CEAD0}" dt="2020-07-31T13:08:03.492" v="183" actId="164"/>
          <ac:spMkLst>
            <pc:docMk/>
            <pc:sldMk cId="1668865571" sldId="1998"/>
            <ac:spMk id="13" creationId="{B5085829-37F9-46C4-B677-019CE1338208}"/>
          </ac:spMkLst>
        </pc:spChg>
        <pc:spChg chg="mod topLvl">
          <ac:chgData name="Eldert Grootenboer" userId="3fe8758b2c2b58d2" providerId="LiveId" clId="{A299B12E-E556-4FD9-B950-379CF91CEAD0}" dt="2020-07-31T13:21:56.651" v="313" actId="403"/>
          <ac:spMkLst>
            <pc:docMk/>
            <pc:sldMk cId="1668865571" sldId="1998"/>
            <ac:spMk id="14" creationId="{816713F3-6528-4A0E-AFFB-53448EFD1F30}"/>
          </ac:spMkLst>
        </pc:spChg>
        <pc:spChg chg="mod topLvl">
          <ac:chgData name="Eldert Grootenboer" userId="3fe8758b2c2b58d2" providerId="LiveId" clId="{A299B12E-E556-4FD9-B950-379CF91CEAD0}" dt="2020-07-31T13:08:06.768" v="184" actId="164"/>
          <ac:spMkLst>
            <pc:docMk/>
            <pc:sldMk cId="1668865571" sldId="1998"/>
            <ac:spMk id="15" creationId="{B96C46E3-19C3-4158-9DA3-90AD8073823E}"/>
          </ac:spMkLst>
        </pc:spChg>
        <pc:spChg chg="mod topLvl">
          <ac:chgData name="Eldert Grootenboer" userId="3fe8758b2c2b58d2" providerId="LiveId" clId="{A299B12E-E556-4FD9-B950-379CF91CEAD0}" dt="2020-07-31T13:21:56.651" v="313" actId="403"/>
          <ac:spMkLst>
            <pc:docMk/>
            <pc:sldMk cId="1668865571" sldId="1998"/>
            <ac:spMk id="16" creationId="{FDB62F40-F0F6-4C23-88CA-8369CDB1417A}"/>
          </ac:spMkLst>
        </pc:spChg>
        <pc:spChg chg="mod topLvl">
          <ac:chgData name="Eldert Grootenboer" userId="3fe8758b2c2b58d2" providerId="LiveId" clId="{A299B12E-E556-4FD9-B950-379CF91CEAD0}" dt="2020-07-31T13:08:10.158" v="185" actId="164"/>
          <ac:spMkLst>
            <pc:docMk/>
            <pc:sldMk cId="1668865571" sldId="1998"/>
            <ac:spMk id="17" creationId="{F7C04EEB-6ACF-445C-A939-B00713576D83}"/>
          </ac:spMkLst>
        </pc:spChg>
        <pc:spChg chg="mod topLvl">
          <ac:chgData name="Eldert Grootenboer" userId="3fe8758b2c2b58d2" providerId="LiveId" clId="{A299B12E-E556-4FD9-B950-379CF91CEAD0}" dt="2020-07-31T13:21:56.651" v="313" actId="403"/>
          <ac:spMkLst>
            <pc:docMk/>
            <pc:sldMk cId="1668865571" sldId="1998"/>
            <ac:spMk id="18" creationId="{8B73F9CE-B768-450B-90CD-45C39B72772A}"/>
          </ac:spMkLst>
        </pc:spChg>
        <pc:grpChg chg="del mod">
          <ac:chgData name="Eldert Grootenboer" userId="3fe8758b2c2b58d2" providerId="LiveId" clId="{A299B12E-E556-4FD9-B950-379CF91CEAD0}" dt="2020-07-31T13:07:45.102" v="180" actId="165"/>
          <ac:grpSpMkLst>
            <pc:docMk/>
            <pc:sldMk cId="1668865571" sldId="1998"/>
            <ac:grpSpMk id="8" creationId="{486191D3-5A7B-42E4-9FF9-49FF1A2D7F9D}"/>
          </ac:grpSpMkLst>
        </pc:grpChg>
        <pc:grpChg chg="add mod">
          <ac:chgData name="Eldert Grootenboer" userId="3fe8758b2c2b58d2" providerId="LiveId" clId="{A299B12E-E556-4FD9-B950-379CF91CEAD0}" dt="2020-07-31T13:21:13.912" v="302" actId="1076"/>
          <ac:grpSpMkLst>
            <pc:docMk/>
            <pc:sldMk cId="1668865571" sldId="1998"/>
            <ac:grpSpMk id="19" creationId="{F3A23B44-2752-4A66-BE8A-966AA5ABFC04}"/>
          </ac:grpSpMkLst>
        </pc:grpChg>
        <pc:grpChg chg="add mod">
          <ac:chgData name="Eldert Grootenboer" userId="3fe8758b2c2b58d2" providerId="LiveId" clId="{A299B12E-E556-4FD9-B950-379CF91CEAD0}" dt="2020-07-31T13:21:31.986" v="305" actId="1076"/>
          <ac:grpSpMkLst>
            <pc:docMk/>
            <pc:sldMk cId="1668865571" sldId="1998"/>
            <ac:grpSpMk id="20" creationId="{ADA32B1D-CD7B-47C5-91A9-BE84E7151EEE}"/>
          </ac:grpSpMkLst>
        </pc:grpChg>
        <pc:grpChg chg="add mod">
          <ac:chgData name="Eldert Grootenboer" userId="3fe8758b2c2b58d2" providerId="LiveId" clId="{A299B12E-E556-4FD9-B950-379CF91CEAD0}" dt="2020-07-31T13:20:20.656" v="296" actId="1076"/>
          <ac:grpSpMkLst>
            <pc:docMk/>
            <pc:sldMk cId="1668865571" sldId="1998"/>
            <ac:grpSpMk id="21" creationId="{13A91D04-3552-4AFC-94C2-FA71CA124F19}"/>
          </ac:grpSpMkLst>
        </pc:grpChg>
        <pc:grpChg chg="add mod">
          <ac:chgData name="Eldert Grootenboer" userId="3fe8758b2c2b58d2" providerId="LiveId" clId="{A299B12E-E556-4FD9-B950-379CF91CEAD0}" dt="2020-07-31T13:21:26.405" v="304" actId="1076"/>
          <ac:grpSpMkLst>
            <pc:docMk/>
            <pc:sldMk cId="1668865571" sldId="1998"/>
            <ac:grpSpMk id="22" creationId="{B88D00DB-2FF1-4C76-AE8B-1C468CFDC994}"/>
          </ac:grpSpMkLst>
        </pc:grpChg>
        <pc:grpChg chg="add mod">
          <ac:chgData name="Eldert Grootenboer" userId="3fe8758b2c2b58d2" providerId="LiveId" clId="{A299B12E-E556-4FD9-B950-379CF91CEAD0}" dt="2020-07-31T13:21:19.136" v="303" actId="1076"/>
          <ac:grpSpMkLst>
            <pc:docMk/>
            <pc:sldMk cId="1668865571" sldId="1998"/>
            <ac:grpSpMk id="23" creationId="{9A9E6463-0B6D-4F0C-99AF-3BED18307A95}"/>
          </ac:grpSpMkLst>
        </pc:grpChg>
        <pc:graphicFrameChg chg="add del mod">
          <ac:chgData name="Eldert Grootenboer" userId="3fe8758b2c2b58d2" providerId="LiveId" clId="{A299B12E-E556-4FD9-B950-379CF91CEAD0}" dt="2020-07-31T13:07:41.316" v="179" actId="18245"/>
          <ac:graphicFrameMkLst>
            <pc:docMk/>
            <pc:sldMk cId="1668865571" sldId="1998"/>
            <ac:graphicFrameMk id="4" creationId="{1754BFDC-7640-411B-B3B5-53C727580F03}"/>
          </ac:graphicFrameMkLst>
        </pc:graphicFrameChg>
        <pc:graphicFrameChg chg="add del">
          <ac:chgData name="Eldert Grootenboer" userId="3fe8758b2c2b58d2" providerId="LiveId" clId="{A299B12E-E556-4FD9-B950-379CF91CEAD0}" dt="2020-07-31T13:06:18.744" v="167" actId="26606"/>
          <ac:graphicFrameMkLst>
            <pc:docMk/>
            <pc:sldMk cId="1668865571" sldId="1998"/>
            <ac:graphicFrameMk id="5" creationId="{8D994EA9-2CAA-4C62-A320-4401CDB98500}"/>
          </ac:graphicFrameMkLst>
        </pc:graphicFrameChg>
        <pc:graphicFrameChg chg="add del mod">
          <ac:chgData name="Eldert Grootenboer" userId="3fe8758b2c2b58d2" providerId="LiveId" clId="{A299B12E-E556-4FD9-B950-379CF91CEAD0}" dt="2020-07-31T13:06:25.779" v="169"/>
          <ac:graphicFrameMkLst>
            <pc:docMk/>
            <pc:sldMk cId="1668865571" sldId="1998"/>
            <ac:graphicFrameMk id="6" creationId="{C49315DB-2DE8-4C9F-B57D-4AB82FB9425D}"/>
          </ac:graphicFrameMkLst>
        </pc:graphicFrameChg>
      </pc:sldChg>
      <pc:sldChg chg="addSp delSp modSp new mod ord modTransition setBg modAnim">
        <pc:chgData name="Eldert Grootenboer" userId="3fe8758b2c2b58d2" providerId="LiveId" clId="{A299B12E-E556-4FD9-B950-379CF91CEAD0}" dt="2020-08-01T13:12:42.307" v="2524"/>
        <pc:sldMkLst>
          <pc:docMk/>
          <pc:sldMk cId="580790234" sldId="1999"/>
        </pc:sldMkLst>
        <pc:spChg chg="mod">
          <ac:chgData name="Eldert Grootenboer" userId="3fe8758b2c2b58d2" providerId="LiveId" clId="{A299B12E-E556-4FD9-B950-379CF91CEAD0}" dt="2020-07-31T13:15:49.444" v="259" actId="26606"/>
          <ac:spMkLst>
            <pc:docMk/>
            <pc:sldMk cId="580790234" sldId="1999"/>
            <ac:spMk id="2" creationId="{8720CDB7-7FAC-43C9-94E0-D2ADB2E3A30F}"/>
          </ac:spMkLst>
        </pc:spChg>
        <pc:spChg chg="mod">
          <ac:chgData name="Eldert Grootenboer" userId="3fe8758b2c2b58d2" providerId="LiveId" clId="{A299B12E-E556-4FD9-B950-379CF91CEAD0}" dt="2020-08-01T09:28:05.494" v="1141" actId="207"/>
          <ac:spMkLst>
            <pc:docMk/>
            <pc:sldMk cId="580790234" sldId="1999"/>
            <ac:spMk id="3" creationId="{7B01932C-ECC4-4E8E-98E0-6FD6147DA89D}"/>
          </ac:spMkLst>
        </pc:spChg>
        <pc:spChg chg="add del">
          <ac:chgData name="Eldert Grootenboer" userId="3fe8758b2c2b58d2" providerId="LiveId" clId="{A299B12E-E556-4FD9-B950-379CF91CEAD0}" dt="2020-07-31T13:15:33.345" v="255" actId="26606"/>
          <ac:spMkLst>
            <pc:docMk/>
            <pc:sldMk cId="580790234" sldId="1999"/>
            <ac:spMk id="5" creationId="{AFA67CD3-AB4E-4A7A-BEB8-53C445D8C44E}"/>
          </ac:spMkLst>
        </pc:spChg>
        <pc:spChg chg="add del">
          <ac:chgData name="Eldert Grootenboer" userId="3fe8758b2c2b58d2" providerId="LiveId" clId="{A299B12E-E556-4FD9-B950-379CF91CEAD0}" dt="2020-07-31T13:15:33.345" v="255" actId="26606"/>
          <ac:spMkLst>
            <pc:docMk/>
            <pc:sldMk cId="580790234" sldId="1999"/>
            <ac:spMk id="8" creationId="{339C8D78-A644-462F-B674-F440635E5353}"/>
          </ac:spMkLst>
        </pc:spChg>
        <pc:spChg chg="add del">
          <ac:chgData name="Eldert Grootenboer" userId="3fe8758b2c2b58d2" providerId="LiveId" clId="{A299B12E-E556-4FD9-B950-379CF91CEAD0}" dt="2020-07-31T13:14:44.531" v="247" actId="26606"/>
          <ac:spMkLst>
            <pc:docMk/>
            <pc:sldMk cId="580790234" sldId="1999"/>
            <ac:spMk id="10" creationId="{AFA67CD3-AB4E-4A7A-BEB8-53C445D8C44E}"/>
          </ac:spMkLst>
        </pc:spChg>
        <pc:spChg chg="add del">
          <ac:chgData name="Eldert Grootenboer" userId="3fe8758b2c2b58d2" providerId="LiveId" clId="{A299B12E-E556-4FD9-B950-379CF91CEAD0}" dt="2020-07-31T13:15:49.444" v="259" actId="26606"/>
          <ac:spMkLst>
            <pc:docMk/>
            <pc:sldMk cId="580790234" sldId="1999"/>
            <ac:spMk id="11" creationId="{AFA67CD3-AB4E-4A7A-BEB8-53C445D8C44E}"/>
          </ac:spMkLst>
        </pc:spChg>
        <pc:spChg chg="add del">
          <ac:chgData name="Eldert Grootenboer" userId="3fe8758b2c2b58d2" providerId="LiveId" clId="{A299B12E-E556-4FD9-B950-379CF91CEAD0}" dt="2020-07-31T13:14:44.531" v="247" actId="26606"/>
          <ac:spMkLst>
            <pc:docMk/>
            <pc:sldMk cId="580790234" sldId="1999"/>
            <ac:spMk id="14" creationId="{339C8D78-A644-462F-B674-F440635E5353}"/>
          </ac:spMkLst>
        </pc:spChg>
        <pc:spChg chg="add del">
          <ac:chgData name="Eldert Grootenboer" userId="3fe8758b2c2b58d2" providerId="LiveId" clId="{A299B12E-E556-4FD9-B950-379CF91CEAD0}" dt="2020-07-31T13:15:49.444" v="259" actId="26606"/>
          <ac:spMkLst>
            <pc:docMk/>
            <pc:sldMk cId="580790234" sldId="1999"/>
            <ac:spMk id="15" creationId="{339C8D78-A644-462F-B674-F440635E5353}"/>
          </ac:spMkLst>
        </pc:spChg>
        <pc:graphicFrameChg chg="add del mod">
          <ac:chgData name="Eldert Grootenboer" userId="3fe8758b2c2b58d2" providerId="LiveId" clId="{A299B12E-E556-4FD9-B950-379CF91CEAD0}" dt="2020-07-31T13:06:36.846" v="172" actId="21"/>
          <ac:graphicFrameMkLst>
            <pc:docMk/>
            <pc:sldMk cId="580790234" sldId="1999"/>
            <ac:graphicFrameMk id="4" creationId="{9B46799A-C351-4274-81A8-20DAED97161D}"/>
          </ac:graphicFrameMkLst>
        </pc:graphicFrameChg>
        <pc:picChg chg="add mod">
          <ac:chgData name="Eldert Grootenboer" userId="3fe8758b2c2b58d2" providerId="LiveId" clId="{A299B12E-E556-4FD9-B950-379CF91CEAD0}" dt="2020-07-31T13:16:05.952" v="261" actId="1076"/>
          <ac:picMkLst>
            <pc:docMk/>
            <pc:sldMk cId="580790234" sldId="1999"/>
            <ac:picMk id="4" creationId="{313DE606-D308-4938-B6D8-0754F930E19B}"/>
          </ac:picMkLst>
        </pc:picChg>
        <pc:picChg chg="add del">
          <ac:chgData name="Eldert Grootenboer" userId="3fe8758b2c2b58d2" providerId="LiveId" clId="{A299B12E-E556-4FD9-B950-379CF91CEAD0}" dt="2020-07-31T13:15:33.345" v="255" actId="26606"/>
          <ac:picMkLst>
            <pc:docMk/>
            <pc:sldMk cId="580790234" sldId="1999"/>
            <ac:picMk id="6" creationId="{07CF545F-9C2E-4446-97CD-AD92990C2B68}"/>
          </ac:picMkLst>
        </pc:picChg>
        <pc:picChg chg="add del">
          <ac:chgData name="Eldert Grootenboer" userId="3fe8758b2c2b58d2" providerId="LiveId" clId="{A299B12E-E556-4FD9-B950-379CF91CEAD0}" dt="2020-07-31T13:14:44.531" v="247" actId="26606"/>
          <ac:picMkLst>
            <pc:docMk/>
            <pc:sldMk cId="580790234" sldId="1999"/>
            <ac:picMk id="7" creationId="{7043E9ED-4C35-4F5D-953D-F91BCE7B4790}"/>
          </ac:picMkLst>
        </pc:picChg>
        <pc:picChg chg="add del">
          <ac:chgData name="Eldert Grootenboer" userId="3fe8758b2c2b58d2" providerId="LiveId" clId="{A299B12E-E556-4FD9-B950-379CF91CEAD0}" dt="2020-07-31T13:15:33.345" v="255" actId="26606"/>
          <ac:picMkLst>
            <pc:docMk/>
            <pc:sldMk cId="580790234" sldId="1999"/>
            <ac:picMk id="9" creationId="{0CF09A68-81C2-4B80-A70C-65ED23F6C5D4}"/>
          </ac:picMkLst>
        </pc:picChg>
        <pc:picChg chg="add del">
          <ac:chgData name="Eldert Grootenboer" userId="3fe8758b2c2b58d2" providerId="LiveId" clId="{A299B12E-E556-4FD9-B950-379CF91CEAD0}" dt="2020-07-31T13:14:44.531" v="247" actId="26606"/>
          <ac:picMkLst>
            <pc:docMk/>
            <pc:sldMk cId="580790234" sldId="1999"/>
            <ac:picMk id="12" creationId="{07CF545F-9C2E-4446-97CD-AD92990C2B68}"/>
          </ac:picMkLst>
        </pc:picChg>
        <pc:picChg chg="add del">
          <ac:chgData name="Eldert Grootenboer" userId="3fe8758b2c2b58d2" providerId="LiveId" clId="{A299B12E-E556-4FD9-B950-379CF91CEAD0}" dt="2020-07-31T13:15:49.444" v="259" actId="26606"/>
          <ac:picMkLst>
            <pc:docMk/>
            <pc:sldMk cId="580790234" sldId="1999"/>
            <ac:picMk id="13" creationId="{07CF545F-9C2E-4446-97CD-AD92990C2B68}"/>
          </ac:picMkLst>
        </pc:picChg>
        <pc:picChg chg="add del">
          <ac:chgData name="Eldert Grootenboer" userId="3fe8758b2c2b58d2" providerId="LiveId" clId="{A299B12E-E556-4FD9-B950-379CF91CEAD0}" dt="2020-07-31T13:15:49.444" v="259" actId="26606"/>
          <ac:picMkLst>
            <pc:docMk/>
            <pc:sldMk cId="580790234" sldId="1999"/>
            <ac:picMk id="16" creationId="{0BDED3CF-CA64-449C-A5C4-AC821BE63D4E}"/>
          </ac:picMkLst>
        </pc:picChg>
      </pc:sldChg>
      <pc:sldChg chg="add del">
        <pc:chgData name="Eldert Grootenboer" userId="3fe8758b2c2b58d2" providerId="LiveId" clId="{A299B12E-E556-4FD9-B950-379CF91CEAD0}" dt="2020-07-31T13:15:38.828" v="257"/>
        <pc:sldMkLst>
          <pc:docMk/>
          <pc:sldMk cId="1844050512" sldId="2000"/>
        </pc:sldMkLst>
      </pc:sldChg>
      <pc:sldChg chg="addSp delSp modSp new mod modTransition modAnim modNotesTx">
        <pc:chgData name="Eldert Grootenboer" userId="3fe8758b2c2b58d2" providerId="LiveId" clId="{A299B12E-E556-4FD9-B950-379CF91CEAD0}" dt="2020-08-01T13:12:42.307" v="2524"/>
        <pc:sldMkLst>
          <pc:docMk/>
          <pc:sldMk cId="2030337305" sldId="2000"/>
        </pc:sldMkLst>
        <pc:spChg chg="mod">
          <ac:chgData name="Eldert Grootenboer" userId="3fe8758b2c2b58d2" providerId="LiveId" clId="{A299B12E-E556-4FD9-B950-379CF91CEAD0}" dt="2020-07-31T13:24:14.663" v="344" actId="20577"/>
          <ac:spMkLst>
            <pc:docMk/>
            <pc:sldMk cId="2030337305" sldId="2000"/>
            <ac:spMk id="2" creationId="{EE453851-9DCA-4A8C-9299-C39614798E6D}"/>
          </ac:spMkLst>
        </pc:spChg>
        <pc:spChg chg="mod">
          <ac:chgData name="Eldert Grootenboer" userId="3fe8758b2c2b58d2" providerId="LiveId" clId="{A299B12E-E556-4FD9-B950-379CF91CEAD0}" dt="2020-07-31T14:08:57.859" v="679" actId="114"/>
          <ac:spMkLst>
            <pc:docMk/>
            <pc:sldMk cId="2030337305" sldId="2000"/>
            <ac:spMk id="3" creationId="{F72F5120-CECE-4C50-B909-2C84584698BE}"/>
          </ac:spMkLst>
        </pc:spChg>
        <pc:spChg chg="add del mod">
          <ac:chgData name="Eldert Grootenboer" userId="3fe8758b2c2b58d2" providerId="LiveId" clId="{A299B12E-E556-4FD9-B950-379CF91CEAD0}" dt="2020-07-31T13:23:58.177" v="325" actId="22"/>
          <ac:spMkLst>
            <pc:docMk/>
            <pc:sldMk cId="2030337305" sldId="2000"/>
            <ac:spMk id="5" creationId="{5E55792B-6EE1-4A6D-BEE3-FF3E96A54744}"/>
          </ac:spMkLst>
        </pc:spChg>
      </pc:sldChg>
      <pc:sldChg chg="add del">
        <pc:chgData name="Eldert Grootenboer" userId="3fe8758b2c2b58d2" providerId="LiveId" clId="{A299B12E-E556-4FD9-B950-379CF91CEAD0}" dt="2020-07-31T13:15:15.521" v="249"/>
        <pc:sldMkLst>
          <pc:docMk/>
          <pc:sldMk cId="3885238082" sldId="2000"/>
        </pc:sldMkLst>
      </pc:sldChg>
      <pc:sldChg chg="addSp delSp modSp new mod modTransition modClrScheme chgLayout modNotesTx">
        <pc:chgData name="Eldert Grootenboer" userId="3fe8758b2c2b58d2" providerId="LiveId" clId="{A299B12E-E556-4FD9-B950-379CF91CEAD0}" dt="2020-08-19T09:30:57.807" v="3712" actId="12788"/>
        <pc:sldMkLst>
          <pc:docMk/>
          <pc:sldMk cId="301637476" sldId="2001"/>
        </pc:sldMkLst>
        <pc:spChg chg="mod ord">
          <ac:chgData name="Eldert Grootenboer" userId="3fe8758b2c2b58d2" providerId="LiveId" clId="{A299B12E-E556-4FD9-B950-379CF91CEAD0}" dt="2020-08-19T09:30:05.931" v="3680"/>
          <ac:spMkLst>
            <pc:docMk/>
            <pc:sldMk cId="301637476" sldId="2001"/>
            <ac:spMk id="2" creationId="{4FED99FF-F113-417D-942B-93259629F84B}"/>
          </ac:spMkLst>
        </pc:spChg>
        <pc:spChg chg="add del mod ord">
          <ac:chgData name="Eldert Grootenboer" userId="3fe8758b2c2b58d2" providerId="LiveId" clId="{A299B12E-E556-4FD9-B950-379CF91CEAD0}" dt="2020-08-19T09:28:39.747" v="3651" actId="478"/>
          <ac:spMkLst>
            <pc:docMk/>
            <pc:sldMk cId="301637476" sldId="2001"/>
            <ac:spMk id="3" creationId="{6DFF3999-3598-40AC-9446-17A24A942E9E}"/>
          </ac:spMkLst>
        </pc:spChg>
        <pc:spChg chg="add del mod">
          <ac:chgData name="Eldert Grootenboer" userId="3fe8758b2c2b58d2" providerId="LiveId" clId="{A299B12E-E556-4FD9-B950-379CF91CEAD0}" dt="2020-08-12T09:04:56.448" v="2999"/>
          <ac:spMkLst>
            <pc:docMk/>
            <pc:sldMk cId="301637476" sldId="2001"/>
            <ac:spMk id="3" creationId="{79C11081-2ED1-4DEC-AEF3-FA04C2D447FC}"/>
          </ac:spMkLst>
        </pc:spChg>
        <pc:spChg chg="del">
          <ac:chgData name="Eldert Grootenboer" userId="3fe8758b2c2b58d2" providerId="LiveId" clId="{A299B12E-E556-4FD9-B950-379CF91CEAD0}" dt="2020-07-31T13:23:43.313" v="319"/>
          <ac:spMkLst>
            <pc:docMk/>
            <pc:sldMk cId="301637476" sldId="2001"/>
            <ac:spMk id="3" creationId="{88C18633-A9AA-4760-BF3E-AE0593E271B2}"/>
          </ac:spMkLst>
        </pc:spChg>
        <pc:spChg chg="add del mod">
          <ac:chgData name="Eldert Grootenboer" userId="3fe8758b2c2b58d2" providerId="LiveId" clId="{A299B12E-E556-4FD9-B950-379CF91CEAD0}" dt="2020-08-19T09:22:00.216" v="3607"/>
          <ac:spMkLst>
            <pc:docMk/>
            <pc:sldMk cId="301637476" sldId="2001"/>
            <ac:spMk id="4" creationId="{9877BC9F-4703-4738-BEAD-57847948AC08}"/>
          </ac:spMkLst>
        </pc:spChg>
        <pc:spChg chg="add mod">
          <ac:chgData name="Eldert Grootenboer" userId="3fe8758b2c2b58d2" providerId="LiveId" clId="{A299B12E-E556-4FD9-B950-379CF91CEAD0}" dt="2020-08-19T09:30:24.054" v="3709" actId="122"/>
          <ac:spMkLst>
            <pc:docMk/>
            <pc:sldMk cId="301637476" sldId="2001"/>
            <ac:spMk id="5" creationId="{C9E44565-BF13-45D5-A398-8100E80A4001}"/>
          </ac:spMkLst>
        </pc:spChg>
        <pc:spChg chg="add del mod">
          <ac:chgData name="Eldert Grootenboer" userId="3fe8758b2c2b58d2" providerId="LiveId" clId="{A299B12E-E556-4FD9-B950-379CF91CEAD0}" dt="2020-08-19T09:29:57.043" v="3679" actId="478"/>
          <ac:spMkLst>
            <pc:docMk/>
            <pc:sldMk cId="301637476" sldId="2001"/>
            <ac:spMk id="8" creationId="{4E9BF1A1-E94B-40DD-8E2A-90A8BFEB8908}"/>
          </ac:spMkLst>
        </pc:spChg>
        <pc:spChg chg="add del mod">
          <ac:chgData name="Eldert Grootenboer" userId="3fe8758b2c2b58d2" providerId="LiveId" clId="{A299B12E-E556-4FD9-B950-379CF91CEAD0}" dt="2020-08-19T09:30:05.931" v="3680"/>
          <ac:spMkLst>
            <pc:docMk/>
            <pc:sldMk cId="301637476" sldId="2001"/>
            <ac:spMk id="11" creationId="{8D92D93C-E195-4276-9567-A37DC15E29B6}"/>
          </ac:spMkLst>
        </pc:spChg>
        <pc:spChg chg="add del mod">
          <ac:chgData name="Eldert Grootenboer" userId="3fe8758b2c2b58d2" providerId="LiveId" clId="{A299B12E-E556-4FD9-B950-379CF91CEAD0}" dt="2020-08-19T09:30:05.931" v="3680"/>
          <ac:spMkLst>
            <pc:docMk/>
            <pc:sldMk cId="301637476" sldId="2001"/>
            <ac:spMk id="12" creationId="{607D812B-E563-42DD-8362-48C2B2B50276}"/>
          </ac:spMkLst>
        </pc:spChg>
        <pc:picChg chg="add del mod ord">
          <ac:chgData name="Eldert Grootenboer" userId="3fe8758b2c2b58d2" providerId="LiveId" clId="{A299B12E-E556-4FD9-B950-379CF91CEAD0}" dt="2020-08-19T09:28:48.931" v="3653" actId="21"/>
          <ac:picMkLst>
            <pc:docMk/>
            <pc:sldMk cId="301637476" sldId="2001"/>
            <ac:picMk id="6" creationId="{1E2C6AF6-9C9D-40AF-BAE1-13541196ACC3}"/>
          </ac:picMkLst>
        </pc:picChg>
        <pc:picChg chg="add mod">
          <ac:chgData name="Eldert Grootenboer" userId="3fe8758b2c2b58d2" providerId="LiveId" clId="{A299B12E-E556-4FD9-B950-379CF91CEAD0}" dt="2020-08-19T09:30:57.807" v="3712" actId="12788"/>
          <ac:picMkLst>
            <pc:docMk/>
            <pc:sldMk cId="301637476" sldId="2001"/>
            <ac:picMk id="7" creationId="{AAD9C1F4-299D-4168-A770-0E145F94028F}"/>
          </ac:picMkLst>
        </pc:picChg>
        <pc:picChg chg="add del mod">
          <ac:chgData name="Eldert Grootenboer" userId="3fe8758b2c2b58d2" providerId="LiveId" clId="{A299B12E-E556-4FD9-B950-379CF91CEAD0}" dt="2020-08-19T09:28:58.982" v="3657" actId="21"/>
          <ac:picMkLst>
            <pc:docMk/>
            <pc:sldMk cId="301637476" sldId="2001"/>
            <ac:picMk id="9" creationId="{D969C0C0-349E-4532-AE06-CED1C106E7EF}"/>
          </ac:picMkLst>
        </pc:picChg>
        <pc:picChg chg="add del mod">
          <ac:chgData name="Eldert Grootenboer" userId="3fe8758b2c2b58d2" providerId="LiveId" clId="{A299B12E-E556-4FD9-B950-379CF91CEAD0}" dt="2020-08-12T09:04:54.012" v="2996" actId="478"/>
          <ac:picMkLst>
            <pc:docMk/>
            <pc:sldMk cId="301637476" sldId="2001"/>
            <ac:picMk id="1026" creationId="{13AEA9D1-1BE8-4AE6-A21C-476E13460475}"/>
          </ac:picMkLst>
        </pc:picChg>
        <pc:picChg chg="add del">
          <ac:chgData name="Eldert Grootenboer" userId="3fe8758b2c2b58d2" providerId="LiveId" clId="{A299B12E-E556-4FD9-B950-379CF91CEAD0}" dt="2020-08-12T09:04:55.517" v="2998"/>
          <ac:picMkLst>
            <pc:docMk/>
            <pc:sldMk cId="301637476" sldId="2001"/>
            <ac:picMk id="2050" creationId="{B86A05A5-9A7E-4E39-889E-FAAB924380E0}"/>
          </ac:picMkLst>
        </pc:picChg>
        <pc:picChg chg="add del mod ord">
          <ac:chgData name="Eldert Grootenboer" userId="3fe8758b2c2b58d2" providerId="LiveId" clId="{A299B12E-E556-4FD9-B950-379CF91CEAD0}" dt="2020-08-19T09:21:59.054" v="3606" actId="21"/>
          <ac:picMkLst>
            <pc:docMk/>
            <pc:sldMk cId="301637476" sldId="2001"/>
            <ac:picMk id="2052" creationId="{02485687-0C46-4793-B472-07F09265DC2B}"/>
          </ac:picMkLst>
        </pc:picChg>
      </pc:sldChg>
      <pc:sldChg chg="modSp add del mod ord">
        <pc:chgData name="Eldert Grootenboer" userId="3fe8758b2c2b58d2" providerId="LiveId" clId="{A299B12E-E556-4FD9-B950-379CF91CEAD0}" dt="2020-07-31T13:51:57.932" v="567" actId="47"/>
        <pc:sldMkLst>
          <pc:docMk/>
          <pc:sldMk cId="1303494707" sldId="2002"/>
        </pc:sldMkLst>
        <pc:spChg chg="mod">
          <ac:chgData name="Eldert Grootenboer" userId="3fe8758b2c2b58d2" providerId="LiveId" clId="{A299B12E-E556-4FD9-B950-379CF91CEAD0}" dt="2020-07-31T13:24:53.195" v="372" actId="20577"/>
          <ac:spMkLst>
            <pc:docMk/>
            <pc:sldMk cId="1303494707" sldId="2002"/>
            <ac:spMk id="3" creationId="{88C18633-A9AA-4760-BF3E-AE0593E271B2}"/>
          </ac:spMkLst>
        </pc:spChg>
      </pc:sldChg>
      <pc:sldChg chg="addSp delSp modSp add del mod setBg">
        <pc:chgData name="Eldert Grootenboer" userId="3fe8758b2c2b58d2" providerId="LiveId" clId="{A299B12E-E556-4FD9-B950-379CF91CEAD0}" dt="2020-07-31T13:50:25.034" v="539" actId="47"/>
        <pc:sldMkLst>
          <pc:docMk/>
          <pc:sldMk cId="2399985323" sldId="2003"/>
        </pc:sldMkLst>
        <pc:spChg chg="mod">
          <ac:chgData name="Eldert Grootenboer" userId="3fe8758b2c2b58d2" providerId="LiveId" clId="{A299B12E-E556-4FD9-B950-379CF91CEAD0}" dt="2020-07-31T13:39:50.910" v="441" actId="26606"/>
          <ac:spMkLst>
            <pc:docMk/>
            <pc:sldMk cId="2399985323" sldId="2003"/>
            <ac:spMk id="2" creationId="{4FED99FF-F113-417D-942B-93259629F84B}"/>
          </ac:spMkLst>
        </pc:spChg>
        <pc:spChg chg="add del mod">
          <ac:chgData name="Eldert Grootenboer" userId="3fe8758b2c2b58d2" providerId="LiveId" clId="{A299B12E-E556-4FD9-B950-379CF91CEAD0}" dt="2020-07-31T13:39:50.910" v="441" actId="26606"/>
          <ac:spMkLst>
            <pc:docMk/>
            <pc:sldMk cId="2399985323" sldId="2003"/>
            <ac:spMk id="3" creationId="{88C18633-A9AA-4760-BF3E-AE0593E271B2}"/>
          </ac:spMkLst>
        </pc:spChg>
        <pc:spChg chg="mod">
          <ac:chgData name="Eldert Grootenboer" userId="3fe8758b2c2b58d2" providerId="LiveId" clId="{A299B12E-E556-4FD9-B950-379CF91CEAD0}" dt="2020-07-31T13:39:11.542" v="435" actId="18245"/>
          <ac:spMkLst>
            <pc:docMk/>
            <pc:sldMk cId="2399985323" sldId="2003"/>
            <ac:spMk id="6" creationId="{5296F0AA-783A-472B-80D8-62130E194C66}"/>
          </ac:spMkLst>
        </pc:spChg>
        <pc:spChg chg="mod">
          <ac:chgData name="Eldert Grootenboer" userId="3fe8758b2c2b58d2" providerId="LiveId" clId="{A299B12E-E556-4FD9-B950-379CF91CEAD0}" dt="2020-07-31T13:39:11.542" v="435" actId="18245"/>
          <ac:spMkLst>
            <pc:docMk/>
            <pc:sldMk cId="2399985323" sldId="2003"/>
            <ac:spMk id="7" creationId="{3A27E27E-E88C-4DDD-93BD-8679887CFBDA}"/>
          </ac:spMkLst>
        </pc:spChg>
        <pc:spChg chg="mod">
          <ac:chgData name="Eldert Grootenboer" userId="3fe8758b2c2b58d2" providerId="LiveId" clId="{A299B12E-E556-4FD9-B950-379CF91CEAD0}" dt="2020-07-31T13:39:09.462" v="434" actId="18245"/>
          <ac:spMkLst>
            <pc:docMk/>
            <pc:sldMk cId="2399985323" sldId="2003"/>
            <ac:spMk id="8" creationId="{151FFF09-CA63-42EB-957C-743A28F088A2}"/>
          </ac:spMkLst>
        </pc:spChg>
        <pc:spChg chg="add del">
          <ac:chgData name="Eldert Grootenboer" userId="3fe8758b2c2b58d2" providerId="LiveId" clId="{A299B12E-E556-4FD9-B950-379CF91CEAD0}" dt="2020-07-31T13:39:36.573" v="439" actId="26606"/>
          <ac:spMkLst>
            <pc:docMk/>
            <pc:sldMk cId="2399985323" sldId="2003"/>
            <ac:spMk id="9" creationId="{53B021B3-DE93-4AB7-8A18-CF5F1CED88B8}"/>
          </ac:spMkLst>
        </pc:spChg>
        <pc:spChg chg="add del">
          <ac:chgData name="Eldert Grootenboer" userId="3fe8758b2c2b58d2" providerId="LiveId" clId="{A299B12E-E556-4FD9-B950-379CF91CEAD0}" dt="2020-07-31T13:39:36.573" v="439" actId="26606"/>
          <ac:spMkLst>
            <pc:docMk/>
            <pc:sldMk cId="2399985323" sldId="2003"/>
            <ac:spMk id="11" creationId="{52D502E5-F6B4-4D58-B4AE-FC466FF15EE8}"/>
          </ac:spMkLst>
        </pc:spChg>
        <pc:spChg chg="add">
          <ac:chgData name="Eldert Grootenboer" userId="3fe8758b2c2b58d2" providerId="LiveId" clId="{A299B12E-E556-4FD9-B950-379CF91CEAD0}" dt="2020-07-31T13:39:50.910" v="441" actId="26606"/>
          <ac:spMkLst>
            <pc:docMk/>
            <pc:sldMk cId="2399985323" sldId="2003"/>
            <ac:spMk id="12" creationId="{53B021B3-DE93-4AB7-8A18-CF5F1CED88B8}"/>
          </ac:spMkLst>
        </pc:spChg>
        <pc:spChg chg="add del">
          <ac:chgData name="Eldert Grootenboer" userId="3fe8758b2c2b58d2" providerId="LiveId" clId="{A299B12E-E556-4FD9-B950-379CF91CEAD0}" dt="2020-07-31T13:39:36.573" v="439" actId="26606"/>
          <ac:spMkLst>
            <pc:docMk/>
            <pc:sldMk cId="2399985323" sldId="2003"/>
            <ac:spMk id="13" creationId="{9DECDBF4-02B6-4BB4-B65B-B8107AD6A9E8}"/>
          </ac:spMkLst>
        </pc:spChg>
        <pc:spChg chg="add">
          <ac:chgData name="Eldert Grootenboer" userId="3fe8758b2c2b58d2" providerId="LiveId" clId="{A299B12E-E556-4FD9-B950-379CF91CEAD0}" dt="2020-07-31T13:39:50.910" v="441" actId="26606"/>
          <ac:spMkLst>
            <pc:docMk/>
            <pc:sldMk cId="2399985323" sldId="2003"/>
            <ac:spMk id="14" creationId="{52D502E5-F6B4-4D58-B4AE-FC466FF15EE8}"/>
          </ac:spMkLst>
        </pc:spChg>
        <pc:spChg chg="add">
          <ac:chgData name="Eldert Grootenboer" userId="3fe8758b2c2b58d2" providerId="LiveId" clId="{A299B12E-E556-4FD9-B950-379CF91CEAD0}" dt="2020-07-31T13:39:50.910" v="441" actId="26606"/>
          <ac:spMkLst>
            <pc:docMk/>
            <pc:sldMk cId="2399985323" sldId="2003"/>
            <ac:spMk id="15" creationId="{9DECDBF4-02B6-4BB4-B65B-B8107AD6A9E8}"/>
          </ac:spMkLst>
        </pc:spChg>
        <pc:grpChg chg="mod">
          <ac:chgData name="Eldert Grootenboer" userId="3fe8758b2c2b58d2" providerId="LiveId" clId="{A299B12E-E556-4FD9-B950-379CF91CEAD0}" dt="2020-07-31T13:39:11.542" v="435" actId="18245"/>
          <ac:grpSpMkLst>
            <pc:docMk/>
            <pc:sldMk cId="2399985323" sldId="2003"/>
            <ac:grpSpMk id="5" creationId="{4626289F-990E-4595-8DA1-0FC5CFF92149}"/>
          </ac:grpSpMkLst>
        </pc:grpChg>
        <pc:graphicFrameChg chg="add del mod">
          <ac:chgData name="Eldert Grootenboer" userId="3fe8758b2c2b58d2" providerId="LiveId" clId="{A299B12E-E556-4FD9-B950-379CF91CEAD0}" dt="2020-07-31T13:39:12.121" v="436" actId="12084"/>
          <ac:graphicFrameMkLst>
            <pc:docMk/>
            <pc:sldMk cId="2399985323" sldId="2003"/>
            <ac:graphicFrameMk id="4" creationId="{9ED17817-C1D5-4BB8-8FBC-2C97E458CC2C}"/>
          </ac:graphicFrameMkLst>
        </pc:graphicFrameChg>
        <pc:graphicFrameChg chg="add del">
          <ac:chgData name="Eldert Grootenboer" userId="3fe8758b2c2b58d2" providerId="LiveId" clId="{A299B12E-E556-4FD9-B950-379CF91CEAD0}" dt="2020-07-31T13:39:36.573" v="439" actId="26606"/>
          <ac:graphicFrameMkLst>
            <pc:docMk/>
            <pc:sldMk cId="2399985323" sldId="2003"/>
            <ac:graphicFrameMk id="10" creationId="{267AFDB2-CC3F-4C46-814A-26C9FD645996}"/>
          </ac:graphicFrameMkLst>
        </pc:graphicFrameChg>
        <pc:graphicFrameChg chg="add">
          <ac:chgData name="Eldert Grootenboer" userId="3fe8758b2c2b58d2" providerId="LiveId" clId="{A299B12E-E556-4FD9-B950-379CF91CEAD0}" dt="2020-07-31T13:39:50.910" v="441" actId="26606"/>
          <ac:graphicFrameMkLst>
            <pc:docMk/>
            <pc:sldMk cId="2399985323" sldId="2003"/>
            <ac:graphicFrameMk id="16" creationId="{FA12E66C-8E6A-4577-89B5-6C5A1E851344}"/>
          </ac:graphicFrameMkLst>
        </pc:graphicFrameChg>
      </pc:sldChg>
      <pc:sldChg chg="addSp delSp modSp add mod ord modTransition setBg modAnim modNotesTx">
        <pc:chgData name="Eldert Grootenboer" userId="3fe8758b2c2b58d2" providerId="LiveId" clId="{A299B12E-E556-4FD9-B950-379CF91CEAD0}" dt="2020-08-18T14:43:55.402" v="3581"/>
        <pc:sldMkLst>
          <pc:docMk/>
          <pc:sldMk cId="337079745" sldId="2004"/>
        </pc:sldMkLst>
        <pc:spChg chg="mod">
          <ac:chgData name="Eldert Grootenboer" userId="3fe8758b2c2b58d2" providerId="LiveId" clId="{A299B12E-E556-4FD9-B950-379CF91CEAD0}" dt="2020-07-31T13:50:29.638" v="540"/>
          <ac:spMkLst>
            <pc:docMk/>
            <pc:sldMk cId="337079745" sldId="2004"/>
            <ac:spMk id="2" creationId="{4FED99FF-F113-417D-942B-93259629F84B}"/>
          </ac:spMkLst>
        </pc:spChg>
        <pc:spChg chg="del mod">
          <ac:chgData name="Eldert Grootenboer" userId="3fe8758b2c2b58d2" providerId="LiveId" clId="{A299B12E-E556-4FD9-B950-379CF91CEAD0}" dt="2020-07-31T13:50:04.984" v="533" actId="22"/>
          <ac:spMkLst>
            <pc:docMk/>
            <pc:sldMk cId="337079745" sldId="2004"/>
            <ac:spMk id="3" creationId="{88C18633-A9AA-4760-BF3E-AE0593E271B2}"/>
          </ac:spMkLst>
        </pc:spChg>
        <pc:spChg chg="mod">
          <ac:chgData name="Eldert Grootenboer" userId="3fe8758b2c2b58d2" providerId="LiveId" clId="{A299B12E-E556-4FD9-B950-379CF91CEAD0}" dt="2020-07-31T14:15:17.644" v="697" actId="18245"/>
          <ac:spMkLst>
            <pc:docMk/>
            <pc:sldMk cId="337079745" sldId="2004"/>
            <ac:spMk id="4" creationId="{F7D671FB-4EBD-4024-8D77-113FFDB36E79}"/>
          </ac:spMkLst>
        </pc:spChg>
        <pc:spChg chg="mod">
          <ac:chgData name="Eldert Grootenboer" userId="3fe8758b2c2b58d2" providerId="LiveId" clId="{A299B12E-E556-4FD9-B950-379CF91CEAD0}" dt="2020-07-31T14:15:17.644" v="697" actId="18245"/>
          <ac:spMkLst>
            <pc:docMk/>
            <pc:sldMk cId="337079745" sldId="2004"/>
            <ac:spMk id="6" creationId="{4381A300-0CFE-4807-8A42-9AFCC5CE5C1F}"/>
          </ac:spMkLst>
        </pc:spChg>
        <pc:spChg chg="mod">
          <ac:chgData name="Eldert Grootenboer" userId="3fe8758b2c2b58d2" providerId="LiveId" clId="{A299B12E-E556-4FD9-B950-379CF91CEAD0}" dt="2020-07-31T14:15:17.644" v="697" actId="18245"/>
          <ac:spMkLst>
            <pc:docMk/>
            <pc:sldMk cId="337079745" sldId="2004"/>
            <ac:spMk id="7" creationId="{5E7D9839-87D2-4F13-9F51-12781DB6C9CD}"/>
          </ac:spMkLst>
        </pc:spChg>
        <pc:spChg chg="mod">
          <ac:chgData name="Eldert Grootenboer" userId="3fe8758b2c2b58d2" providerId="LiveId" clId="{A299B12E-E556-4FD9-B950-379CF91CEAD0}" dt="2020-07-31T14:10:10.282" v="688" actId="18245"/>
          <ac:spMkLst>
            <pc:docMk/>
            <pc:sldMk cId="337079745" sldId="2004"/>
            <ac:spMk id="8" creationId="{301A2A13-89B7-423C-8F0A-C32E7DAB3240}"/>
          </ac:spMkLst>
        </pc:spChg>
        <pc:spChg chg="mod">
          <ac:chgData name="Eldert Grootenboer" userId="3fe8758b2c2b58d2" providerId="LiveId" clId="{A299B12E-E556-4FD9-B950-379CF91CEAD0}" dt="2020-07-31T14:15:17.644" v="697" actId="18245"/>
          <ac:spMkLst>
            <pc:docMk/>
            <pc:sldMk cId="337079745" sldId="2004"/>
            <ac:spMk id="8" creationId="{B96D2B0F-7735-4C9E-B5F6-F29C7219355E}"/>
          </ac:spMkLst>
        </pc:spChg>
        <pc:spChg chg="mod">
          <ac:chgData name="Eldert Grootenboer" userId="3fe8758b2c2b58d2" providerId="LiveId" clId="{A299B12E-E556-4FD9-B950-379CF91CEAD0}" dt="2020-07-31T14:15:17.644" v="697" actId="18245"/>
          <ac:spMkLst>
            <pc:docMk/>
            <pc:sldMk cId="337079745" sldId="2004"/>
            <ac:spMk id="9" creationId="{D9B2B754-ED75-4227-B751-322B222FA351}"/>
          </ac:spMkLst>
        </pc:spChg>
        <pc:spChg chg="mod">
          <ac:chgData name="Eldert Grootenboer" userId="3fe8758b2c2b58d2" providerId="LiveId" clId="{A299B12E-E556-4FD9-B950-379CF91CEAD0}" dt="2020-07-31T14:10:10.282" v="688" actId="18245"/>
          <ac:spMkLst>
            <pc:docMk/>
            <pc:sldMk cId="337079745" sldId="2004"/>
            <ac:spMk id="9" creationId="{E124CFD0-AB91-4264-A7DE-40B8C1A2DD4A}"/>
          </ac:spMkLst>
        </pc:spChg>
        <pc:spChg chg="add del">
          <ac:chgData name="Eldert Grootenboer" userId="3fe8758b2c2b58d2" providerId="LiveId" clId="{A299B12E-E556-4FD9-B950-379CF91CEAD0}" dt="2020-07-31T13:49:08.171" v="526" actId="26606"/>
          <ac:spMkLst>
            <pc:docMk/>
            <pc:sldMk cId="337079745" sldId="2004"/>
            <ac:spMk id="10" creationId="{2B566528-1B12-4246-9431-5C2D7D081168}"/>
          </ac:spMkLst>
        </pc:spChg>
        <pc:spChg chg="mod">
          <ac:chgData name="Eldert Grootenboer" userId="3fe8758b2c2b58d2" providerId="LiveId" clId="{A299B12E-E556-4FD9-B950-379CF91CEAD0}" dt="2020-07-31T14:14:42.844" v="692" actId="18245"/>
          <ac:spMkLst>
            <pc:docMk/>
            <pc:sldMk cId="337079745" sldId="2004"/>
            <ac:spMk id="10" creationId="{C358383B-6CA5-4B16-9188-F3063A21994A}"/>
          </ac:spMkLst>
        </pc:spChg>
        <pc:spChg chg="mod">
          <ac:chgData name="Eldert Grootenboer" userId="3fe8758b2c2b58d2" providerId="LiveId" clId="{A299B12E-E556-4FD9-B950-379CF91CEAD0}" dt="2020-07-31T14:10:10.282" v="688" actId="18245"/>
          <ac:spMkLst>
            <pc:docMk/>
            <pc:sldMk cId="337079745" sldId="2004"/>
            <ac:spMk id="11" creationId="{36886BCB-B998-40AD-80CF-D89DE252707A}"/>
          </ac:spMkLst>
        </pc:spChg>
        <pc:spChg chg="mod topLvl">
          <ac:chgData name="Eldert Grootenboer" userId="3fe8758b2c2b58d2" providerId="LiveId" clId="{A299B12E-E556-4FD9-B950-379CF91CEAD0}" dt="2020-07-31T14:15:52.364" v="701" actId="165"/>
          <ac:spMkLst>
            <pc:docMk/>
            <pc:sldMk cId="337079745" sldId="2004"/>
            <ac:spMk id="12" creationId="{6F7A0B5E-A52F-4513-810B-20B74B20DCC2}"/>
          </ac:spMkLst>
        </pc:spChg>
        <pc:spChg chg="mod topLvl">
          <ac:chgData name="Eldert Grootenboer" userId="3fe8758b2c2b58d2" providerId="LiveId" clId="{A299B12E-E556-4FD9-B950-379CF91CEAD0}" dt="2020-07-31T14:15:52.364" v="701" actId="165"/>
          <ac:spMkLst>
            <pc:docMk/>
            <pc:sldMk cId="337079745" sldId="2004"/>
            <ac:spMk id="13" creationId="{C4133EE9-56AA-4E22-9634-AF3A61831BDB}"/>
          </ac:spMkLst>
        </pc:spChg>
        <pc:spChg chg="mod topLvl">
          <ac:chgData name="Eldert Grootenboer" userId="3fe8758b2c2b58d2" providerId="LiveId" clId="{A299B12E-E556-4FD9-B950-379CF91CEAD0}" dt="2020-07-31T14:15:59.740" v="702" actId="27349"/>
          <ac:spMkLst>
            <pc:docMk/>
            <pc:sldMk cId="337079745" sldId="2004"/>
            <ac:spMk id="14" creationId="{5F87B5A1-2811-4734-94AC-540EFDD8F28D}"/>
          </ac:spMkLst>
        </pc:spChg>
        <pc:spChg chg="mod topLvl">
          <ac:chgData name="Eldert Grootenboer" userId="3fe8758b2c2b58d2" providerId="LiveId" clId="{A299B12E-E556-4FD9-B950-379CF91CEAD0}" dt="2020-07-31T14:15:52.364" v="701" actId="165"/>
          <ac:spMkLst>
            <pc:docMk/>
            <pc:sldMk cId="337079745" sldId="2004"/>
            <ac:spMk id="15" creationId="{C2B6D6E7-C573-44DA-BF7F-9BA8A2003BF8}"/>
          </ac:spMkLst>
        </pc:spChg>
        <pc:spChg chg="mod topLvl">
          <ac:chgData name="Eldert Grootenboer" userId="3fe8758b2c2b58d2" providerId="LiveId" clId="{A299B12E-E556-4FD9-B950-379CF91CEAD0}" dt="2020-07-31T14:15:52.364" v="701" actId="165"/>
          <ac:spMkLst>
            <pc:docMk/>
            <pc:sldMk cId="337079745" sldId="2004"/>
            <ac:spMk id="16" creationId="{5D28AAE7-836B-4EB9-85C6-93BA19A93CC0}"/>
          </ac:spMkLst>
        </pc:spChg>
        <pc:spChg chg="add del">
          <ac:chgData name="Eldert Grootenboer" userId="3fe8758b2c2b58d2" providerId="LiveId" clId="{A299B12E-E556-4FD9-B950-379CF91CEAD0}" dt="2020-07-31T13:49:08.171" v="526" actId="26606"/>
          <ac:spMkLst>
            <pc:docMk/>
            <pc:sldMk cId="337079745" sldId="2004"/>
            <ac:spMk id="16" creationId="{D3F51FEB-38FB-4F6C-9F7B-2F2AFAB65463}"/>
          </ac:spMkLst>
        </pc:spChg>
        <pc:spChg chg="mod topLvl">
          <ac:chgData name="Eldert Grootenboer" userId="3fe8758b2c2b58d2" providerId="LiveId" clId="{A299B12E-E556-4FD9-B950-379CF91CEAD0}" dt="2020-07-31T14:15:52.364" v="701" actId="165"/>
          <ac:spMkLst>
            <pc:docMk/>
            <pc:sldMk cId="337079745" sldId="2004"/>
            <ac:spMk id="17" creationId="{9183465E-5DBA-49A2-A89C-BBC8DCE8D138}"/>
          </ac:spMkLst>
        </pc:spChg>
        <pc:spChg chg="mod">
          <ac:chgData name="Eldert Grootenboer" userId="3fe8758b2c2b58d2" providerId="LiveId" clId="{A299B12E-E556-4FD9-B950-379CF91CEAD0}" dt="2020-07-31T14:10:10.282" v="688" actId="18245"/>
          <ac:spMkLst>
            <pc:docMk/>
            <pc:sldMk cId="337079745" sldId="2004"/>
            <ac:spMk id="17" creationId="{E2E5F554-5F7B-4840-9450-9E352BC10DB0}"/>
          </ac:spMkLst>
        </pc:spChg>
        <pc:spChg chg="add del">
          <ac:chgData name="Eldert Grootenboer" userId="3fe8758b2c2b58d2" providerId="LiveId" clId="{A299B12E-E556-4FD9-B950-379CF91CEAD0}" dt="2020-07-31T13:49:08.171" v="526" actId="26606"/>
          <ac:spMkLst>
            <pc:docMk/>
            <pc:sldMk cId="337079745" sldId="2004"/>
            <ac:spMk id="18" creationId="{1E547BA6-BAE0-43BB-A7CA-60F69CE252F0}"/>
          </ac:spMkLst>
        </pc:spChg>
        <pc:spChg chg="mod">
          <ac:chgData name="Eldert Grootenboer" userId="3fe8758b2c2b58d2" providerId="LiveId" clId="{A299B12E-E556-4FD9-B950-379CF91CEAD0}" dt="2020-07-31T14:10:10.282" v="688" actId="18245"/>
          <ac:spMkLst>
            <pc:docMk/>
            <pc:sldMk cId="337079745" sldId="2004"/>
            <ac:spMk id="19" creationId="{F030B018-30EE-4E92-8FC2-B9C1423CC535}"/>
          </ac:spMkLst>
        </pc:spChg>
        <pc:spChg chg="mod">
          <ac:chgData name="Eldert Grootenboer" userId="3fe8758b2c2b58d2" providerId="LiveId" clId="{A299B12E-E556-4FD9-B950-379CF91CEAD0}" dt="2020-07-31T14:10:05.808" v="687" actId="18245"/>
          <ac:spMkLst>
            <pc:docMk/>
            <pc:sldMk cId="337079745" sldId="2004"/>
            <ac:spMk id="20" creationId="{557AE090-5141-4E59-8883-18C539ABBA11}"/>
          </ac:spMkLst>
        </pc:spChg>
        <pc:grpChg chg="mod">
          <ac:chgData name="Eldert Grootenboer" userId="3fe8758b2c2b58d2" providerId="LiveId" clId="{A299B12E-E556-4FD9-B950-379CF91CEAD0}" dt="2020-07-31T14:15:17.644" v="697" actId="18245"/>
          <ac:grpSpMkLst>
            <pc:docMk/>
            <pc:sldMk cId="337079745" sldId="2004"/>
            <ac:grpSpMk id="3" creationId="{C47B1A0C-E7DA-4911-A5D6-3BDE2A9B703A}"/>
          </ac:grpSpMkLst>
        </pc:grpChg>
        <pc:grpChg chg="mod">
          <ac:chgData name="Eldert Grootenboer" userId="3fe8758b2c2b58d2" providerId="LiveId" clId="{A299B12E-E556-4FD9-B950-379CF91CEAD0}" dt="2020-07-31T14:10:10.282" v="688" actId="18245"/>
          <ac:grpSpMkLst>
            <pc:docMk/>
            <pc:sldMk cId="337079745" sldId="2004"/>
            <ac:grpSpMk id="7" creationId="{D53C8C5C-8398-417D-B2B2-64395949803E}"/>
          </ac:grpSpMkLst>
        </pc:grpChg>
        <pc:grpChg chg="del mod">
          <ac:chgData name="Eldert Grootenboer" userId="3fe8758b2c2b58d2" providerId="LiveId" clId="{A299B12E-E556-4FD9-B950-379CF91CEAD0}" dt="2020-07-31T14:15:52.364" v="701" actId="165"/>
          <ac:grpSpMkLst>
            <pc:docMk/>
            <pc:sldMk cId="337079745" sldId="2004"/>
            <ac:grpSpMk id="11" creationId="{937A5F41-47EE-48B8-AB36-5639ABE194BD}"/>
          </ac:grpSpMkLst>
        </pc:grpChg>
        <pc:grpChg chg="add del">
          <ac:chgData name="Eldert Grootenboer" userId="3fe8758b2c2b58d2" providerId="LiveId" clId="{A299B12E-E556-4FD9-B950-379CF91CEAD0}" dt="2020-07-31T13:49:08.171" v="526" actId="26606"/>
          <ac:grpSpMkLst>
            <pc:docMk/>
            <pc:sldMk cId="337079745" sldId="2004"/>
            <ac:grpSpMk id="12" creationId="{07EAA094-9CF6-4695-958A-33D9BCAA9474}"/>
          </ac:grpSpMkLst>
        </pc:grpChg>
        <pc:graphicFrameChg chg="add del mod modGraphic">
          <ac:chgData name="Eldert Grootenboer" userId="3fe8758b2c2b58d2" providerId="LiveId" clId="{A299B12E-E556-4FD9-B950-379CF91CEAD0}" dt="2020-07-31T13:50:03.551" v="532" actId="21"/>
          <ac:graphicFrameMkLst>
            <pc:docMk/>
            <pc:sldMk cId="337079745" sldId="2004"/>
            <ac:graphicFrameMk id="4" creationId="{2871D2A7-6218-4D98-B85D-A4F0DA192121}"/>
          </ac:graphicFrameMkLst>
        </pc:graphicFrameChg>
        <pc:graphicFrameChg chg="add del mod">
          <ac:chgData name="Eldert Grootenboer" userId="3fe8758b2c2b58d2" providerId="LiveId" clId="{A299B12E-E556-4FD9-B950-379CF91CEAD0}" dt="2020-07-31T14:15:43.737" v="700" actId="18245"/>
          <ac:graphicFrameMkLst>
            <pc:docMk/>
            <pc:sldMk cId="337079745" sldId="2004"/>
            <ac:graphicFrameMk id="5" creationId="{F2F03D36-045E-4656-8AFE-022A4A771DB2}"/>
          </ac:graphicFrameMkLst>
        </pc:graphicFrameChg>
        <pc:picChg chg="add del mod">
          <ac:chgData name="Eldert Grootenboer" userId="3fe8758b2c2b58d2" providerId="LiveId" clId="{A299B12E-E556-4FD9-B950-379CF91CEAD0}" dt="2020-07-31T13:49:08.171" v="526" actId="26606"/>
          <ac:picMkLst>
            <pc:docMk/>
            <pc:sldMk cId="337079745" sldId="2004"/>
            <ac:picMk id="6" creationId="{C5F3264C-5A9D-41B0-9A53-2AF30758AC21}"/>
          </ac:picMkLst>
        </pc:picChg>
      </pc:sldChg>
      <pc:sldChg chg="add del">
        <pc:chgData name="Eldert Grootenboer" userId="3fe8758b2c2b58d2" providerId="LiveId" clId="{A299B12E-E556-4FD9-B950-379CF91CEAD0}" dt="2020-07-31T13:50:22.150" v="537" actId="47"/>
        <pc:sldMkLst>
          <pc:docMk/>
          <pc:sldMk cId="1901650677" sldId="2005"/>
        </pc:sldMkLst>
      </pc:sldChg>
      <pc:sldChg chg="add del">
        <pc:chgData name="Eldert Grootenboer" userId="3fe8758b2c2b58d2" providerId="LiveId" clId="{A299B12E-E556-4FD9-B950-379CF91CEAD0}" dt="2020-07-31T13:50:23.554" v="538" actId="47"/>
        <pc:sldMkLst>
          <pc:docMk/>
          <pc:sldMk cId="2413390334" sldId="2006"/>
        </pc:sldMkLst>
      </pc:sldChg>
      <pc:sldChg chg="addSp delSp modSp new add del mod setBg">
        <pc:chgData name="Eldert Grootenboer" userId="3fe8758b2c2b58d2" providerId="LiveId" clId="{A299B12E-E556-4FD9-B950-379CF91CEAD0}" dt="2020-07-31T13:49:15.665" v="528" actId="47"/>
        <pc:sldMkLst>
          <pc:docMk/>
          <pc:sldMk cId="2096888344" sldId="2007"/>
        </pc:sldMkLst>
        <pc:spChg chg="mod">
          <ac:chgData name="Eldert Grootenboer" userId="3fe8758b2c2b58d2" providerId="LiveId" clId="{A299B12E-E556-4FD9-B950-379CF91CEAD0}" dt="2020-07-31T13:44:21.245" v="514" actId="26606"/>
          <ac:spMkLst>
            <pc:docMk/>
            <pc:sldMk cId="2096888344" sldId="2007"/>
            <ac:spMk id="2" creationId="{A25B4F3E-0E13-4206-8246-21147BA5A234}"/>
          </ac:spMkLst>
        </pc:spChg>
        <pc:spChg chg="del mod">
          <ac:chgData name="Eldert Grootenboer" userId="3fe8758b2c2b58d2" providerId="LiveId" clId="{A299B12E-E556-4FD9-B950-379CF91CEAD0}" dt="2020-07-31T13:44:21.245" v="514" actId="26606"/>
          <ac:spMkLst>
            <pc:docMk/>
            <pc:sldMk cId="2096888344" sldId="2007"/>
            <ac:spMk id="3" creationId="{15B6D8E5-481B-426B-AAC1-B1BF94A87AE8}"/>
          </ac:spMkLst>
        </pc:spChg>
        <pc:spChg chg="add del">
          <ac:chgData name="Eldert Grootenboer" userId="3fe8758b2c2b58d2" providerId="LiveId" clId="{A299B12E-E556-4FD9-B950-379CF91CEAD0}" dt="2020-07-31T13:44:33.100" v="515" actId="26606"/>
          <ac:spMkLst>
            <pc:docMk/>
            <pc:sldMk cId="2096888344" sldId="2007"/>
            <ac:spMk id="9" creationId="{122F9423-F4B1-45D4-8445-E9991ECCBCCF}"/>
          </ac:spMkLst>
        </pc:spChg>
        <pc:spChg chg="add">
          <ac:chgData name="Eldert Grootenboer" userId="3fe8758b2c2b58d2" providerId="LiveId" clId="{A299B12E-E556-4FD9-B950-379CF91CEAD0}" dt="2020-07-31T13:44:33.100" v="515" actId="26606"/>
          <ac:spMkLst>
            <pc:docMk/>
            <pc:sldMk cId="2096888344" sldId="2007"/>
            <ac:spMk id="18" creationId="{122F9423-F4B1-45D4-8445-E9991ECCBCCF}"/>
          </ac:spMkLst>
        </pc:spChg>
        <pc:grpChg chg="add del">
          <ac:chgData name="Eldert Grootenboer" userId="3fe8758b2c2b58d2" providerId="LiveId" clId="{A299B12E-E556-4FD9-B950-379CF91CEAD0}" dt="2020-07-31T13:44:33.100" v="515" actId="26606"/>
          <ac:grpSpMkLst>
            <pc:docMk/>
            <pc:sldMk cId="2096888344" sldId="2007"/>
            <ac:grpSpMk id="11" creationId="{770AE191-D2EA-45C9-A44D-830C188F74CB}"/>
          </ac:grpSpMkLst>
        </pc:grpChg>
        <pc:grpChg chg="add">
          <ac:chgData name="Eldert Grootenboer" userId="3fe8758b2c2b58d2" providerId="LiveId" clId="{A299B12E-E556-4FD9-B950-379CF91CEAD0}" dt="2020-07-31T13:44:33.100" v="515" actId="26606"/>
          <ac:grpSpMkLst>
            <pc:docMk/>
            <pc:sldMk cId="2096888344" sldId="2007"/>
            <ac:grpSpMk id="20" creationId="{770AE191-D2EA-45C9-A44D-830C188F74CB}"/>
          </ac:grpSpMkLst>
        </pc:grpChg>
        <pc:graphicFrameChg chg="add mod modGraphic">
          <ac:chgData name="Eldert Grootenboer" userId="3fe8758b2c2b58d2" providerId="LiveId" clId="{A299B12E-E556-4FD9-B950-379CF91CEAD0}" dt="2020-07-31T13:44:33.100" v="515" actId="26606"/>
          <ac:graphicFrameMkLst>
            <pc:docMk/>
            <pc:sldMk cId="2096888344" sldId="2007"/>
            <ac:graphicFrameMk id="5" creationId="{F37CE542-AE88-4853-B0AB-0B9AB2825760}"/>
          </ac:graphicFrameMkLst>
        </pc:graphicFrameChg>
      </pc:sldChg>
      <pc:sldChg chg="addSp delSp modSp new mod modTransition modAnim modNotesTx">
        <pc:chgData name="Eldert Grootenboer" userId="3fe8758b2c2b58d2" providerId="LiveId" clId="{A299B12E-E556-4FD9-B950-379CF91CEAD0}" dt="2020-08-18T14:12:16.873" v="3535" actId="20577"/>
        <pc:sldMkLst>
          <pc:docMk/>
          <pc:sldMk cId="4091695444" sldId="2008"/>
        </pc:sldMkLst>
        <pc:spChg chg="mod">
          <ac:chgData name="Eldert Grootenboer" userId="3fe8758b2c2b58d2" providerId="LiveId" clId="{A299B12E-E556-4FD9-B950-379CF91CEAD0}" dt="2020-07-31T13:45:15.714" v="520"/>
          <ac:spMkLst>
            <pc:docMk/>
            <pc:sldMk cId="4091695444" sldId="2008"/>
            <ac:spMk id="2" creationId="{01A2D8A6-74B4-4762-931F-2F419B3AF311}"/>
          </ac:spMkLst>
        </pc:spChg>
        <pc:spChg chg="del">
          <ac:chgData name="Eldert Grootenboer" userId="3fe8758b2c2b58d2" providerId="LiveId" clId="{A299B12E-E556-4FD9-B950-379CF91CEAD0}" dt="2020-07-31T13:44:45.215" v="517"/>
          <ac:spMkLst>
            <pc:docMk/>
            <pc:sldMk cId="4091695444" sldId="2008"/>
            <ac:spMk id="3" creationId="{820CBBF0-D5F3-46E5-BE31-389F2CDA4C49}"/>
          </ac:spMkLst>
        </pc:spChg>
        <pc:spChg chg="mod topLvl">
          <ac:chgData name="Eldert Grootenboer" userId="3fe8758b2c2b58d2" providerId="LiveId" clId="{A299B12E-E556-4FD9-B950-379CF91CEAD0}" dt="2020-07-31T14:16:18.706" v="704" actId="165"/>
          <ac:spMkLst>
            <pc:docMk/>
            <pc:sldMk cId="4091695444" sldId="2008"/>
            <ac:spMk id="5" creationId="{B7285CF7-CB35-4F9D-94F3-78A371DD53BE}"/>
          </ac:spMkLst>
        </pc:spChg>
        <pc:spChg chg="mod topLvl">
          <ac:chgData name="Eldert Grootenboer" userId="3fe8758b2c2b58d2" providerId="LiveId" clId="{A299B12E-E556-4FD9-B950-379CF91CEAD0}" dt="2020-07-31T14:16:18.706" v="704" actId="165"/>
          <ac:spMkLst>
            <pc:docMk/>
            <pc:sldMk cId="4091695444" sldId="2008"/>
            <ac:spMk id="6" creationId="{27D5A4B7-9DB1-4CA4-8212-C7D05F476A91}"/>
          </ac:spMkLst>
        </pc:spChg>
        <pc:spChg chg="mod topLvl">
          <ac:chgData name="Eldert Grootenboer" userId="3fe8758b2c2b58d2" providerId="LiveId" clId="{A299B12E-E556-4FD9-B950-379CF91CEAD0}" dt="2020-07-31T14:19:25.015" v="730" actId="1076"/>
          <ac:spMkLst>
            <pc:docMk/>
            <pc:sldMk cId="4091695444" sldId="2008"/>
            <ac:spMk id="7" creationId="{F7B38C73-1798-453B-99DB-86C7DEEC51BA}"/>
          </ac:spMkLst>
        </pc:spChg>
        <pc:spChg chg="mod topLvl">
          <ac:chgData name="Eldert Grootenboer" userId="3fe8758b2c2b58d2" providerId="LiveId" clId="{A299B12E-E556-4FD9-B950-379CF91CEAD0}" dt="2020-07-31T14:16:18.706" v="704" actId="165"/>
          <ac:spMkLst>
            <pc:docMk/>
            <pc:sldMk cId="4091695444" sldId="2008"/>
            <ac:spMk id="8" creationId="{7608A9B0-D88F-41B9-AA07-83498C694B86}"/>
          </ac:spMkLst>
        </pc:spChg>
        <pc:spChg chg="mod topLvl">
          <ac:chgData name="Eldert Grootenboer" userId="3fe8758b2c2b58d2" providerId="LiveId" clId="{A299B12E-E556-4FD9-B950-379CF91CEAD0}" dt="2020-07-31T14:16:18.706" v="704" actId="165"/>
          <ac:spMkLst>
            <pc:docMk/>
            <pc:sldMk cId="4091695444" sldId="2008"/>
            <ac:spMk id="9" creationId="{23C0FD39-4EF6-4DCC-9E9C-F586B15622F1}"/>
          </ac:spMkLst>
        </pc:spChg>
        <pc:spChg chg="mod topLvl">
          <ac:chgData name="Eldert Grootenboer" userId="3fe8758b2c2b58d2" providerId="LiveId" clId="{A299B12E-E556-4FD9-B950-379CF91CEAD0}" dt="2020-07-31T14:16:18.706" v="704" actId="165"/>
          <ac:spMkLst>
            <pc:docMk/>
            <pc:sldMk cId="4091695444" sldId="2008"/>
            <ac:spMk id="10" creationId="{17944AC6-9F27-4375-A147-BA30F66F3489}"/>
          </ac:spMkLst>
        </pc:spChg>
        <pc:spChg chg="mod topLvl">
          <ac:chgData name="Eldert Grootenboer" userId="3fe8758b2c2b58d2" providerId="LiveId" clId="{A299B12E-E556-4FD9-B950-379CF91CEAD0}" dt="2020-07-31T14:16:18.706" v="704" actId="165"/>
          <ac:spMkLst>
            <pc:docMk/>
            <pc:sldMk cId="4091695444" sldId="2008"/>
            <ac:spMk id="11" creationId="{7C4EED78-4911-4953-A4CF-1DC433FC5AE0}"/>
          </ac:spMkLst>
        </pc:spChg>
        <pc:spChg chg="mod topLvl">
          <ac:chgData name="Eldert Grootenboer" userId="3fe8758b2c2b58d2" providerId="LiveId" clId="{A299B12E-E556-4FD9-B950-379CF91CEAD0}" dt="2020-07-31T14:16:18.706" v="704" actId="165"/>
          <ac:spMkLst>
            <pc:docMk/>
            <pc:sldMk cId="4091695444" sldId="2008"/>
            <ac:spMk id="12" creationId="{C4D2926C-9248-4CF6-AB57-83B66130C9AB}"/>
          </ac:spMkLst>
        </pc:spChg>
        <pc:spChg chg="mod topLvl">
          <ac:chgData name="Eldert Grootenboer" userId="3fe8758b2c2b58d2" providerId="LiveId" clId="{A299B12E-E556-4FD9-B950-379CF91CEAD0}" dt="2020-07-31T14:16:18.706" v="704" actId="165"/>
          <ac:spMkLst>
            <pc:docMk/>
            <pc:sldMk cId="4091695444" sldId="2008"/>
            <ac:spMk id="13" creationId="{B7737F7D-BD4F-4D05-B732-B527C1B61D5C}"/>
          </ac:spMkLst>
        </pc:spChg>
        <pc:spChg chg="mod topLvl">
          <ac:chgData name="Eldert Grootenboer" userId="3fe8758b2c2b58d2" providerId="LiveId" clId="{A299B12E-E556-4FD9-B950-379CF91CEAD0}" dt="2020-07-31T14:16:18.706" v="704" actId="165"/>
          <ac:spMkLst>
            <pc:docMk/>
            <pc:sldMk cId="4091695444" sldId="2008"/>
            <ac:spMk id="14" creationId="{9304674F-B1FC-4167-9597-AC10309489C9}"/>
          </ac:spMkLst>
        </pc:spChg>
        <pc:grpChg chg="del mod">
          <ac:chgData name="Eldert Grootenboer" userId="3fe8758b2c2b58d2" providerId="LiveId" clId="{A299B12E-E556-4FD9-B950-379CF91CEAD0}" dt="2020-07-31T14:16:18.706" v="704" actId="165"/>
          <ac:grpSpMkLst>
            <pc:docMk/>
            <pc:sldMk cId="4091695444" sldId="2008"/>
            <ac:grpSpMk id="3" creationId="{A5C6FD57-32A4-4EDC-83AE-771FC48FC565}"/>
          </ac:grpSpMkLst>
        </pc:grpChg>
        <pc:graphicFrameChg chg="add del mod">
          <ac:chgData name="Eldert Grootenboer" userId="3fe8758b2c2b58d2" providerId="LiveId" clId="{A299B12E-E556-4FD9-B950-379CF91CEAD0}" dt="2020-07-31T14:16:15.093" v="703" actId="18245"/>
          <ac:graphicFrameMkLst>
            <pc:docMk/>
            <pc:sldMk cId="4091695444" sldId="2008"/>
            <ac:graphicFrameMk id="4" creationId="{53D36AC7-6EA5-4B50-A8ED-9E1697C4AD9B}"/>
          </ac:graphicFrameMkLst>
        </pc:graphicFrameChg>
        <pc:picChg chg="add del">
          <ac:chgData name="Eldert Grootenboer" userId="3fe8758b2c2b58d2" providerId="LiveId" clId="{A299B12E-E556-4FD9-B950-379CF91CEAD0}" dt="2020-08-01T11:38:08.999" v="1584" actId="22"/>
          <ac:picMkLst>
            <pc:docMk/>
            <pc:sldMk cId="4091695444" sldId="2008"/>
            <ac:picMk id="16" creationId="{D5446ECF-56E9-4A22-99D5-79834DE67896}"/>
          </ac:picMkLst>
        </pc:picChg>
      </pc:sldChg>
      <pc:sldChg chg="addSp delSp modSp new add del mod setBg setClrOvrMap modNotesTx">
        <pc:chgData name="Eldert Grootenboer" userId="3fe8758b2c2b58d2" providerId="LiveId" clId="{A299B12E-E556-4FD9-B950-379CF91CEAD0}" dt="2020-07-31T14:26:10.396" v="809" actId="47"/>
        <pc:sldMkLst>
          <pc:docMk/>
          <pc:sldMk cId="2156096134" sldId="2009"/>
        </pc:sldMkLst>
        <pc:spChg chg="mod">
          <ac:chgData name="Eldert Grootenboer" userId="3fe8758b2c2b58d2" providerId="LiveId" clId="{A299B12E-E556-4FD9-B950-379CF91CEAD0}" dt="2020-07-31T14:01:51.363" v="657" actId="26606"/>
          <ac:spMkLst>
            <pc:docMk/>
            <pc:sldMk cId="2156096134" sldId="2009"/>
            <ac:spMk id="2" creationId="{29EB8AB1-C04D-41FB-BB74-7C51B6830A06}"/>
          </ac:spMkLst>
        </pc:spChg>
        <pc:spChg chg="mod">
          <ac:chgData name="Eldert Grootenboer" userId="3fe8758b2c2b58d2" providerId="LiveId" clId="{A299B12E-E556-4FD9-B950-379CF91CEAD0}" dt="2020-07-31T14:02:18.278" v="660" actId="21"/>
          <ac:spMkLst>
            <pc:docMk/>
            <pc:sldMk cId="2156096134" sldId="2009"/>
            <ac:spMk id="3" creationId="{948D5399-DC48-4619-B919-6E2F520371D6}"/>
          </ac:spMkLst>
        </pc:spChg>
        <pc:spChg chg="add del">
          <ac:chgData name="Eldert Grootenboer" userId="3fe8758b2c2b58d2" providerId="LiveId" clId="{A299B12E-E556-4FD9-B950-379CF91CEAD0}" dt="2020-07-31T14:01:51.363" v="657" actId="26606"/>
          <ac:spMkLst>
            <pc:docMk/>
            <pc:sldMk cId="2156096134" sldId="2009"/>
            <ac:spMk id="8" creationId="{87A57295-2710-4920-B99A-4D1FA03A62BD}"/>
          </ac:spMkLst>
        </pc:spChg>
        <pc:spChg chg="add del">
          <ac:chgData name="Eldert Grootenboer" userId="3fe8758b2c2b58d2" providerId="LiveId" clId="{A299B12E-E556-4FD9-B950-379CF91CEAD0}" dt="2020-07-31T14:01:51.363" v="657" actId="26606"/>
          <ac:spMkLst>
            <pc:docMk/>
            <pc:sldMk cId="2156096134" sldId="2009"/>
            <ac:spMk id="10" creationId="{78067929-4D33-4306-9E2F-67C49CDDB5DE}"/>
          </ac:spMkLst>
        </pc:spChg>
        <pc:cxnChg chg="add del">
          <ac:chgData name="Eldert Grootenboer" userId="3fe8758b2c2b58d2" providerId="LiveId" clId="{A299B12E-E556-4FD9-B950-379CF91CEAD0}" dt="2020-07-31T14:01:51.363" v="657" actId="26606"/>
          <ac:cxnSpMkLst>
            <pc:docMk/>
            <pc:sldMk cId="2156096134" sldId="2009"/>
            <ac:cxnSpMk id="12" creationId="{2D72A2C9-F3CA-4216-8BAD-FA4C970C3C4E}"/>
          </ac:cxnSpMkLst>
        </pc:cxnChg>
      </pc:sldChg>
      <pc:sldChg chg="add del">
        <pc:chgData name="Eldert Grootenboer" userId="3fe8758b2c2b58d2" providerId="LiveId" clId="{A299B12E-E556-4FD9-B950-379CF91CEAD0}" dt="2020-07-31T14:26:10.411" v="810" actId="47"/>
        <pc:sldMkLst>
          <pc:docMk/>
          <pc:sldMk cId="2588993542" sldId="2010"/>
        </pc:sldMkLst>
      </pc:sldChg>
      <pc:sldChg chg="delSp modSp add mod modTransition modAnim modNotesTx">
        <pc:chgData name="Eldert Grootenboer" userId="3fe8758b2c2b58d2" providerId="LiveId" clId="{A299B12E-E556-4FD9-B950-379CF91CEAD0}" dt="2020-08-13T12:21:01.063" v="3355" actId="20577"/>
        <pc:sldMkLst>
          <pc:docMk/>
          <pc:sldMk cId="3000799375" sldId="2011"/>
        </pc:sldMkLst>
        <pc:spChg chg="mod">
          <ac:chgData name="Eldert Grootenboer" userId="3fe8758b2c2b58d2" providerId="LiveId" clId="{A299B12E-E556-4FD9-B950-379CF91CEAD0}" dt="2020-08-01T10:34:50.325" v="1165" actId="20577"/>
          <ac:spMkLst>
            <pc:docMk/>
            <pc:sldMk cId="3000799375" sldId="2011"/>
            <ac:spMk id="2" creationId="{01A2D8A6-74B4-4762-931F-2F419B3AF311}"/>
          </ac:spMkLst>
        </pc:spChg>
        <pc:spChg chg="mod topLvl">
          <ac:chgData name="Eldert Grootenboer" userId="3fe8758b2c2b58d2" providerId="LiveId" clId="{A299B12E-E556-4FD9-B950-379CF91CEAD0}" dt="2020-07-31T14:21:23.334" v="743" actId="27349"/>
          <ac:spMkLst>
            <pc:docMk/>
            <pc:sldMk cId="3000799375" sldId="2011"/>
            <ac:spMk id="5" creationId="{F0E74471-BB79-419F-8D31-E538A84A890D}"/>
          </ac:spMkLst>
        </pc:spChg>
        <pc:spChg chg="mod topLvl">
          <ac:chgData name="Eldert Grootenboer" userId="3fe8758b2c2b58d2" providerId="LiveId" clId="{A299B12E-E556-4FD9-B950-379CF91CEAD0}" dt="2020-07-31T14:21:10.863" v="742" actId="165"/>
          <ac:spMkLst>
            <pc:docMk/>
            <pc:sldMk cId="3000799375" sldId="2011"/>
            <ac:spMk id="6" creationId="{21D91233-E1B3-457F-8AE3-E5F3A70D8E01}"/>
          </ac:spMkLst>
        </pc:spChg>
        <pc:spChg chg="mod topLvl">
          <ac:chgData name="Eldert Grootenboer" userId="3fe8758b2c2b58d2" providerId="LiveId" clId="{A299B12E-E556-4FD9-B950-379CF91CEAD0}" dt="2020-07-31T14:21:26.192" v="744" actId="27349"/>
          <ac:spMkLst>
            <pc:docMk/>
            <pc:sldMk cId="3000799375" sldId="2011"/>
            <ac:spMk id="7" creationId="{47BC4DE5-0680-422E-8901-C9B2D75A4ABA}"/>
          </ac:spMkLst>
        </pc:spChg>
        <pc:spChg chg="mod topLvl">
          <ac:chgData name="Eldert Grootenboer" userId="3fe8758b2c2b58d2" providerId="LiveId" clId="{A299B12E-E556-4FD9-B950-379CF91CEAD0}" dt="2020-07-31T14:21:10.863" v="742" actId="165"/>
          <ac:spMkLst>
            <pc:docMk/>
            <pc:sldMk cId="3000799375" sldId="2011"/>
            <ac:spMk id="8" creationId="{CA3965B1-3437-4E22-BC5B-26F04D4002D5}"/>
          </ac:spMkLst>
        </pc:spChg>
        <pc:spChg chg="mod topLvl">
          <ac:chgData name="Eldert Grootenboer" userId="3fe8758b2c2b58d2" providerId="LiveId" clId="{A299B12E-E556-4FD9-B950-379CF91CEAD0}" dt="2020-07-31T14:21:29.879" v="745" actId="27349"/>
          <ac:spMkLst>
            <pc:docMk/>
            <pc:sldMk cId="3000799375" sldId="2011"/>
            <ac:spMk id="9" creationId="{3AB4BE37-294C-478F-9CAE-E66E321C825A}"/>
          </ac:spMkLst>
        </pc:spChg>
        <pc:spChg chg="mod topLvl">
          <ac:chgData name="Eldert Grootenboer" userId="3fe8758b2c2b58d2" providerId="LiveId" clId="{A299B12E-E556-4FD9-B950-379CF91CEAD0}" dt="2020-07-31T14:21:10.863" v="742" actId="165"/>
          <ac:spMkLst>
            <pc:docMk/>
            <pc:sldMk cId="3000799375" sldId="2011"/>
            <ac:spMk id="10" creationId="{9293DA29-43E0-44C3-8CC8-0C9BBC65FD39}"/>
          </ac:spMkLst>
        </pc:spChg>
        <pc:grpChg chg="del mod">
          <ac:chgData name="Eldert Grootenboer" userId="3fe8758b2c2b58d2" providerId="LiveId" clId="{A299B12E-E556-4FD9-B950-379CF91CEAD0}" dt="2020-07-31T14:21:10.863" v="742" actId="165"/>
          <ac:grpSpMkLst>
            <pc:docMk/>
            <pc:sldMk cId="3000799375" sldId="2011"/>
            <ac:grpSpMk id="3" creationId="{8295785C-5D5A-4FAE-A5BA-8EDD95E83AC4}"/>
          </ac:grpSpMkLst>
        </pc:grpChg>
        <pc:graphicFrameChg chg="del mod">
          <ac:chgData name="Eldert Grootenboer" userId="3fe8758b2c2b58d2" providerId="LiveId" clId="{A299B12E-E556-4FD9-B950-379CF91CEAD0}" dt="2020-07-31T14:21:07.014" v="741" actId="18245"/>
          <ac:graphicFrameMkLst>
            <pc:docMk/>
            <pc:sldMk cId="3000799375" sldId="2011"/>
            <ac:graphicFrameMk id="4" creationId="{53D36AC7-6EA5-4B50-A8ED-9E1697C4AD9B}"/>
          </ac:graphicFrameMkLst>
        </pc:graphicFrameChg>
      </pc:sldChg>
      <pc:sldChg chg="addSp delSp modSp new add del mod modTransition modAnim modNotesTx">
        <pc:chgData name="Eldert Grootenboer" userId="3fe8758b2c2b58d2" providerId="LiveId" clId="{A299B12E-E556-4FD9-B950-379CF91CEAD0}" dt="2020-08-18T14:19:06.280" v="3579" actId="20577"/>
        <pc:sldMkLst>
          <pc:docMk/>
          <pc:sldMk cId="234509351" sldId="2012"/>
        </pc:sldMkLst>
        <pc:spChg chg="mod">
          <ac:chgData name="Eldert Grootenboer" userId="3fe8758b2c2b58d2" providerId="LiveId" clId="{A299B12E-E556-4FD9-B950-379CF91CEAD0}" dt="2020-07-31T14:26:10.578" v="812" actId="20577"/>
          <ac:spMkLst>
            <pc:docMk/>
            <pc:sldMk cId="234509351" sldId="2012"/>
            <ac:spMk id="2" creationId="{98BBE88F-6088-419C-B905-E4EA466E9325}"/>
          </ac:spMkLst>
        </pc:spChg>
        <pc:spChg chg="del mod">
          <ac:chgData name="Eldert Grootenboer" userId="3fe8758b2c2b58d2" providerId="LiveId" clId="{A299B12E-E556-4FD9-B950-379CF91CEAD0}" dt="2020-07-31T14:27:11.041" v="843" actId="22"/>
          <ac:spMkLst>
            <pc:docMk/>
            <pc:sldMk cId="234509351" sldId="2012"/>
            <ac:spMk id="3" creationId="{41DE6149-DA23-4171-89DC-FB0D274A2941}"/>
          </ac:spMkLst>
        </pc:spChg>
        <pc:spChg chg="mod topLvl">
          <ac:chgData name="Eldert Grootenboer" userId="3fe8758b2c2b58d2" providerId="LiveId" clId="{A299B12E-E556-4FD9-B950-379CF91CEAD0}" dt="2020-07-31T14:31:54.379" v="862" actId="27349"/>
          <ac:spMkLst>
            <pc:docMk/>
            <pc:sldMk cId="234509351" sldId="2012"/>
            <ac:spMk id="8" creationId="{06A0BAAD-7B7C-4B27-B321-3103034C97FC}"/>
          </ac:spMkLst>
        </pc:spChg>
        <pc:spChg chg="mod topLvl">
          <ac:chgData name="Eldert Grootenboer" userId="3fe8758b2c2b58d2" providerId="LiveId" clId="{A299B12E-E556-4FD9-B950-379CF91CEAD0}" dt="2020-08-18T14:18:46.490" v="3574" actId="20577"/>
          <ac:spMkLst>
            <pc:docMk/>
            <pc:sldMk cId="234509351" sldId="2012"/>
            <ac:spMk id="9" creationId="{07876273-333C-4D85-B4A9-E5879E0F6118}"/>
          </ac:spMkLst>
        </pc:spChg>
        <pc:spChg chg="mod topLvl">
          <ac:chgData name="Eldert Grootenboer" userId="3fe8758b2c2b58d2" providerId="LiveId" clId="{A299B12E-E556-4FD9-B950-379CF91CEAD0}" dt="2020-07-31T14:31:42.386" v="858" actId="27349"/>
          <ac:spMkLst>
            <pc:docMk/>
            <pc:sldMk cId="234509351" sldId="2012"/>
            <ac:spMk id="10" creationId="{C3B76699-A7D1-40C4-8166-46CE8E55C440}"/>
          </ac:spMkLst>
        </pc:spChg>
        <pc:spChg chg="mod topLvl">
          <ac:chgData name="Eldert Grootenboer" userId="3fe8758b2c2b58d2" providerId="LiveId" clId="{A299B12E-E556-4FD9-B950-379CF91CEAD0}" dt="2020-07-31T14:31:22.416" v="856" actId="165"/>
          <ac:spMkLst>
            <pc:docMk/>
            <pc:sldMk cId="234509351" sldId="2012"/>
            <ac:spMk id="11" creationId="{B8D77249-F13F-4E24-B6C5-F0EDB3554BFF}"/>
          </ac:spMkLst>
        </pc:spChg>
        <pc:spChg chg="mod topLvl">
          <ac:chgData name="Eldert Grootenboer" userId="3fe8758b2c2b58d2" providerId="LiveId" clId="{A299B12E-E556-4FD9-B950-379CF91CEAD0}" dt="2020-07-31T14:31:44.994" v="859" actId="27349"/>
          <ac:spMkLst>
            <pc:docMk/>
            <pc:sldMk cId="234509351" sldId="2012"/>
            <ac:spMk id="12" creationId="{388E3A38-59E8-4119-A083-39D075798D06}"/>
          </ac:spMkLst>
        </pc:spChg>
        <pc:spChg chg="mod topLvl">
          <ac:chgData name="Eldert Grootenboer" userId="3fe8758b2c2b58d2" providerId="LiveId" clId="{A299B12E-E556-4FD9-B950-379CF91CEAD0}" dt="2020-07-31T14:31:22.416" v="856" actId="165"/>
          <ac:spMkLst>
            <pc:docMk/>
            <pc:sldMk cId="234509351" sldId="2012"/>
            <ac:spMk id="13" creationId="{2B558EAC-FAEB-4043-BEE2-9FF99F6823F2}"/>
          </ac:spMkLst>
        </pc:spChg>
        <pc:spChg chg="mod topLvl">
          <ac:chgData name="Eldert Grootenboer" userId="3fe8758b2c2b58d2" providerId="LiveId" clId="{A299B12E-E556-4FD9-B950-379CF91CEAD0}" dt="2020-07-31T14:31:47.829" v="860" actId="27349"/>
          <ac:spMkLst>
            <pc:docMk/>
            <pc:sldMk cId="234509351" sldId="2012"/>
            <ac:spMk id="14" creationId="{9BB27779-DBCF-4EF9-BAAA-4E7629E23913}"/>
          </ac:spMkLst>
        </pc:spChg>
        <pc:spChg chg="mod topLvl">
          <ac:chgData name="Eldert Grootenboer" userId="3fe8758b2c2b58d2" providerId="LiveId" clId="{A299B12E-E556-4FD9-B950-379CF91CEAD0}" dt="2020-07-31T14:31:22.416" v="856" actId="165"/>
          <ac:spMkLst>
            <pc:docMk/>
            <pc:sldMk cId="234509351" sldId="2012"/>
            <ac:spMk id="15" creationId="{A493D6DC-4DD4-4881-A9B3-BB402A069AA2}"/>
          </ac:spMkLst>
        </pc:spChg>
        <pc:spChg chg="mod topLvl">
          <ac:chgData name="Eldert Grootenboer" userId="3fe8758b2c2b58d2" providerId="LiveId" clId="{A299B12E-E556-4FD9-B950-379CF91CEAD0}" dt="2020-07-31T14:31:50.583" v="861" actId="27349"/>
          <ac:spMkLst>
            <pc:docMk/>
            <pc:sldMk cId="234509351" sldId="2012"/>
            <ac:spMk id="16" creationId="{08BB858A-10DC-4A01-A991-2AC70DDC02F1}"/>
          </ac:spMkLst>
        </pc:spChg>
        <pc:spChg chg="mod topLvl">
          <ac:chgData name="Eldert Grootenboer" userId="3fe8758b2c2b58d2" providerId="LiveId" clId="{A299B12E-E556-4FD9-B950-379CF91CEAD0}" dt="2020-07-31T14:31:22.416" v="856" actId="165"/>
          <ac:spMkLst>
            <pc:docMk/>
            <pc:sldMk cId="234509351" sldId="2012"/>
            <ac:spMk id="17" creationId="{4452AB06-6919-4699-8BFD-74575A6520F5}"/>
          </ac:spMkLst>
        </pc:spChg>
        <pc:grpChg chg="del mod">
          <ac:chgData name="Eldert Grootenboer" userId="3fe8758b2c2b58d2" providerId="LiveId" clId="{A299B12E-E556-4FD9-B950-379CF91CEAD0}" dt="2020-07-31T14:31:22.416" v="856" actId="165"/>
          <ac:grpSpMkLst>
            <pc:docMk/>
            <pc:sldMk cId="234509351" sldId="2012"/>
            <ac:grpSpMk id="7" creationId="{A982B40E-268B-40AE-8D89-AB34A63C139F}"/>
          </ac:grpSpMkLst>
        </pc:grpChg>
        <pc:graphicFrameChg chg="add del mod">
          <ac:chgData name="Eldert Grootenboer" userId="3fe8758b2c2b58d2" providerId="LiveId" clId="{A299B12E-E556-4FD9-B950-379CF91CEAD0}" dt="2020-07-31T14:27:09.856" v="842" actId="21"/>
          <ac:graphicFrameMkLst>
            <pc:docMk/>
            <pc:sldMk cId="234509351" sldId="2012"/>
            <ac:graphicFrameMk id="4" creationId="{DD0AFBA4-F673-49D1-9476-C668631D2627}"/>
          </ac:graphicFrameMkLst>
        </pc:graphicFrameChg>
        <pc:graphicFrameChg chg="add del mod">
          <ac:chgData name="Eldert Grootenboer" userId="3fe8758b2c2b58d2" providerId="LiveId" clId="{A299B12E-E556-4FD9-B950-379CF91CEAD0}" dt="2020-07-31T14:31:17.684" v="855" actId="18245"/>
          <ac:graphicFrameMkLst>
            <pc:docMk/>
            <pc:sldMk cId="234509351" sldId="2012"/>
            <ac:graphicFrameMk id="6" creationId="{0C156B80-3977-42C3-9FAF-7E39450EA13D}"/>
          </ac:graphicFrameMkLst>
        </pc:graphicFrameChg>
      </pc:sldChg>
      <pc:sldChg chg="addSp delSp modSp new mod ord modTransition setBg delDesignElem modShow chgLayout">
        <pc:chgData name="Eldert Grootenboer" userId="3fe8758b2c2b58d2" providerId="LiveId" clId="{A299B12E-E556-4FD9-B950-379CF91CEAD0}" dt="2020-08-01T13:12:42.307" v="2524"/>
        <pc:sldMkLst>
          <pc:docMk/>
          <pc:sldMk cId="3560097479" sldId="2013"/>
        </pc:sldMkLst>
        <pc:spChg chg="del mod">
          <ac:chgData name="Eldert Grootenboer" userId="3fe8758b2c2b58d2" providerId="LiveId" clId="{A299B12E-E556-4FD9-B950-379CF91CEAD0}" dt="2020-08-01T09:23:50.803" v="1131" actId="700"/>
          <ac:spMkLst>
            <pc:docMk/>
            <pc:sldMk cId="3560097479" sldId="2013"/>
            <ac:spMk id="2" creationId="{DAD9D35D-0609-40A6-A809-3725ADD4FABC}"/>
          </ac:spMkLst>
        </pc:spChg>
        <pc:spChg chg="del mod">
          <ac:chgData name="Eldert Grootenboer" userId="3fe8758b2c2b58d2" providerId="LiveId" clId="{A299B12E-E556-4FD9-B950-379CF91CEAD0}" dt="2020-07-31T14:26:44.193" v="837" actId="26606"/>
          <ac:spMkLst>
            <pc:docMk/>
            <pc:sldMk cId="3560097479" sldId="2013"/>
            <ac:spMk id="3" creationId="{74C1D41D-68D7-4BC6-93A4-170A5D2190C1}"/>
          </ac:spMkLst>
        </pc:spChg>
        <pc:spChg chg="add mod ord">
          <ac:chgData name="Eldert Grootenboer" userId="3fe8758b2c2b58d2" providerId="LiveId" clId="{A299B12E-E556-4FD9-B950-379CF91CEAD0}" dt="2020-08-01T09:24:03.386" v="1133"/>
          <ac:spMkLst>
            <pc:docMk/>
            <pc:sldMk cId="3560097479" sldId="2013"/>
            <ac:spMk id="4" creationId="{54345DFE-CB39-4BEF-889B-E29E2B0ACA41}"/>
          </ac:spMkLst>
        </pc:spChg>
        <pc:spChg chg="add del">
          <ac:chgData name="Eldert Grootenboer" userId="3fe8758b2c2b58d2" providerId="LiveId" clId="{A299B12E-E556-4FD9-B950-379CF91CEAD0}" dt="2020-08-01T09:23:50.803" v="1131" actId="700"/>
          <ac:spMkLst>
            <pc:docMk/>
            <pc:sldMk cId="3560097479" sldId="2013"/>
            <ac:spMk id="9" creationId="{53B021B3-DE93-4AB7-8A18-CF5F1CED88B8}"/>
          </ac:spMkLst>
        </pc:spChg>
        <pc:spChg chg="add del">
          <ac:chgData name="Eldert Grootenboer" userId="3fe8758b2c2b58d2" providerId="LiveId" clId="{A299B12E-E556-4FD9-B950-379CF91CEAD0}" dt="2020-08-01T09:23:50.803" v="1131" actId="700"/>
          <ac:spMkLst>
            <pc:docMk/>
            <pc:sldMk cId="3560097479" sldId="2013"/>
            <ac:spMk id="11" creationId="{52D502E5-F6B4-4D58-B4AE-FC466FF15EE8}"/>
          </ac:spMkLst>
        </pc:spChg>
        <pc:spChg chg="add del">
          <ac:chgData name="Eldert Grootenboer" userId="3fe8758b2c2b58d2" providerId="LiveId" clId="{A299B12E-E556-4FD9-B950-379CF91CEAD0}" dt="2020-08-01T09:23:50.803" v="1131" actId="700"/>
          <ac:spMkLst>
            <pc:docMk/>
            <pc:sldMk cId="3560097479" sldId="2013"/>
            <ac:spMk id="13" creationId="{9DECDBF4-02B6-4BB4-B65B-B8107AD6A9E8}"/>
          </ac:spMkLst>
        </pc:spChg>
        <pc:graphicFrameChg chg="add mod ord">
          <ac:chgData name="Eldert Grootenboer" userId="3fe8758b2c2b58d2" providerId="LiveId" clId="{A299B12E-E556-4FD9-B950-379CF91CEAD0}" dt="2020-08-01T09:25:14.178" v="1135"/>
          <ac:graphicFrameMkLst>
            <pc:docMk/>
            <pc:sldMk cId="3560097479" sldId="2013"/>
            <ac:graphicFrameMk id="5" creationId="{75FDF12D-F4C0-43AE-BECB-59572F5B082F}"/>
          </ac:graphicFrameMkLst>
        </pc:graphicFrameChg>
      </pc:sldChg>
      <pc:sldChg chg="modSp add del mod">
        <pc:chgData name="Eldert Grootenboer" userId="3fe8758b2c2b58d2" providerId="LiveId" clId="{A299B12E-E556-4FD9-B950-379CF91CEAD0}" dt="2020-07-31T18:11:25.227" v="944" actId="2696"/>
        <pc:sldMkLst>
          <pc:docMk/>
          <pc:sldMk cId="1313758974" sldId="2014"/>
        </pc:sldMkLst>
        <pc:spChg chg="mod">
          <ac:chgData name="Eldert Grootenboer" userId="3fe8758b2c2b58d2" providerId="LiveId" clId="{A299B12E-E556-4FD9-B950-379CF91CEAD0}" dt="2020-07-31T18:11:16.258" v="936"/>
          <ac:spMkLst>
            <pc:docMk/>
            <pc:sldMk cId="1313758974" sldId="2014"/>
            <ac:spMk id="3" creationId="{41DE6149-DA23-4171-89DC-FB0D274A2941}"/>
          </ac:spMkLst>
        </pc:spChg>
      </pc:sldChg>
      <pc:sldChg chg="addSp delSp modSp new mod modTransition modClrScheme modAnim chgLayout modNotesTx">
        <pc:chgData name="Eldert Grootenboer" userId="3fe8758b2c2b58d2" providerId="LiveId" clId="{A299B12E-E556-4FD9-B950-379CF91CEAD0}" dt="2020-08-01T13:12:42.307" v="2524"/>
        <pc:sldMkLst>
          <pc:docMk/>
          <pc:sldMk cId="2134694078" sldId="2015"/>
        </pc:sldMkLst>
        <pc:spChg chg="add del mod ord">
          <ac:chgData name="Eldert Grootenboer" userId="3fe8758b2c2b58d2" providerId="LiveId" clId="{A299B12E-E556-4FD9-B950-379CF91CEAD0}" dt="2020-07-31T18:11:21.721" v="943" actId="20577"/>
          <ac:spMkLst>
            <pc:docMk/>
            <pc:sldMk cId="2134694078" sldId="2015"/>
            <ac:spMk id="2" creationId="{4D003617-9920-472D-AA80-D4056280B188}"/>
          </ac:spMkLst>
        </pc:spChg>
        <pc:spChg chg="del">
          <ac:chgData name="Eldert Grootenboer" userId="3fe8758b2c2b58d2" providerId="LiveId" clId="{A299B12E-E556-4FD9-B950-379CF91CEAD0}" dt="2020-07-31T18:04:17.764" v="889"/>
          <ac:spMkLst>
            <pc:docMk/>
            <pc:sldMk cId="2134694078" sldId="2015"/>
            <ac:spMk id="3" creationId="{428F1FEC-75EE-4DEC-93A3-25158F09E24F}"/>
          </ac:spMkLst>
        </pc:spChg>
        <pc:spChg chg="add del mod ord">
          <ac:chgData name="Eldert Grootenboer" userId="3fe8758b2c2b58d2" providerId="LiveId" clId="{A299B12E-E556-4FD9-B950-379CF91CEAD0}" dt="2020-07-31T18:10:35.198" v="929" actId="700"/>
          <ac:spMkLst>
            <pc:docMk/>
            <pc:sldMk cId="2134694078" sldId="2015"/>
            <ac:spMk id="5" creationId="{64F14073-0EF2-47DF-989B-4CD4202A3005}"/>
          </ac:spMkLst>
        </pc:spChg>
        <pc:spChg chg="add del mod">
          <ac:chgData name="Eldert Grootenboer" userId="3fe8758b2c2b58d2" providerId="LiveId" clId="{A299B12E-E556-4FD9-B950-379CF91CEAD0}" dt="2020-07-31T18:10:31.938" v="928" actId="478"/>
          <ac:spMkLst>
            <pc:docMk/>
            <pc:sldMk cId="2134694078" sldId="2015"/>
            <ac:spMk id="7" creationId="{BBDA9BC8-16F5-4E4B-B92B-A0016F88BA0B}"/>
          </ac:spMkLst>
        </pc:spChg>
        <pc:spChg chg="add del mod ord">
          <ac:chgData name="Eldert Grootenboer" userId="3fe8758b2c2b58d2" providerId="LiveId" clId="{A299B12E-E556-4FD9-B950-379CF91CEAD0}" dt="2020-07-31T18:09:25.628" v="918" actId="700"/>
          <ac:spMkLst>
            <pc:docMk/>
            <pc:sldMk cId="2134694078" sldId="2015"/>
            <ac:spMk id="8" creationId="{AF18A1FA-3EAD-4FAA-B4CA-FB6AC649C344}"/>
          </ac:spMkLst>
        </pc:spChg>
        <pc:spChg chg="add del mod">
          <ac:chgData name="Eldert Grootenboer" userId="3fe8758b2c2b58d2" providerId="LiveId" clId="{A299B12E-E556-4FD9-B950-379CF91CEAD0}" dt="2020-07-31T18:09:24.966" v="917"/>
          <ac:spMkLst>
            <pc:docMk/>
            <pc:sldMk cId="2134694078" sldId="2015"/>
            <ac:spMk id="9" creationId="{8BC3771C-7BE3-4552-811A-66A5B40C070A}"/>
          </ac:spMkLst>
        </pc:spChg>
        <pc:spChg chg="add del mod ord">
          <ac:chgData name="Eldert Grootenboer" userId="3fe8758b2c2b58d2" providerId="LiveId" clId="{A299B12E-E556-4FD9-B950-379CF91CEAD0}" dt="2020-07-31T18:10:05.327" v="923" actId="700"/>
          <ac:spMkLst>
            <pc:docMk/>
            <pc:sldMk cId="2134694078" sldId="2015"/>
            <ac:spMk id="10" creationId="{58C89D60-D5F8-4C5E-B96D-E58A2035AB4C}"/>
          </ac:spMkLst>
        </pc:spChg>
        <pc:spChg chg="add del mod ord">
          <ac:chgData name="Eldert Grootenboer" userId="3fe8758b2c2b58d2" providerId="LiveId" clId="{A299B12E-E556-4FD9-B950-379CF91CEAD0}" dt="2020-07-31T18:10:05.327" v="923" actId="700"/>
          <ac:spMkLst>
            <pc:docMk/>
            <pc:sldMk cId="2134694078" sldId="2015"/>
            <ac:spMk id="11" creationId="{F1945169-6C37-4924-8B96-E90B25EE3AD8}"/>
          </ac:spMkLst>
        </pc:spChg>
        <pc:spChg chg="mod topLvl">
          <ac:chgData name="Eldert Grootenboer" userId="3fe8758b2c2b58d2" providerId="LiveId" clId="{A299B12E-E556-4FD9-B950-379CF91CEAD0}" dt="2020-07-31T18:46:39.689" v="985" actId="165"/>
          <ac:spMkLst>
            <pc:docMk/>
            <pc:sldMk cId="2134694078" sldId="2015"/>
            <ac:spMk id="13" creationId="{2542848A-ABC9-4D47-97C0-4B1F2225096A}"/>
          </ac:spMkLst>
        </pc:spChg>
        <pc:spChg chg="mod topLvl">
          <ac:chgData name="Eldert Grootenboer" userId="3fe8758b2c2b58d2" providerId="LiveId" clId="{A299B12E-E556-4FD9-B950-379CF91CEAD0}" dt="2020-07-31T18:46:39.689" v="985" actId="165"/>
          <ac:spMkLst>
            <pc:docMk/>
            <pc:sldMk cId="2134694078" sldId="2015"/>
            <ac:spMk id="14" creationId="{C61C090B-11AE-4001-923C-F67652334A15}"/>
          </ac:spMkLst>
        </pc:spChg>
        <pc:spChg chg="mod topLvl">
          <ac:chgData name="Eldert Grootenboer" userId="3fe8758b2c2b58d2" providerId="LiveId" clId="{A299B12E-E556-4FD9-B950-379CF91CEAD0}" dt="2020-07-31T18:46:39.689" v="985" actId="165"/>
          <ac:spMkLst>
            <pc:docMk/>
            <pc:sldMk cId="2134694078" sldId="2015"/>
            <ac:spMk id="15" creationId="{0CE33F97-B6D0-4181-BFA6-F83AC137DCB5}"/>
          </ac:spMkLst>
        </pc:spChg>
        <pc:spChg chg="mod topLvl">
          <ac:chgData name="Eldert Grootenboer" userId="3fe8758b2c2b58d2" providerId="LiveId" clId="{A299B12E-E556-4FD9-B950-379CF91CEAD0}" dt="2020-07-31T18:46:39.689" v="985" actId="165"/>
          <ac:spMkLst>
            <pc:docMk/>
            <pc:sldMk cId="2134694078" sldId="2015"/>
            <ac:spMk id="16" creationId="{3DB41A34-0F39-4DF9-9C8E-5CE24C1BA9AE}"/>
          </ac:spMkLst>
        </pc:spChg>
        <pc:spChg chg="mod topLvl">
          <ac:chgData name="Eldert Grootenboer" userId="3fe8758b2c2b58d2" providerId="LiveId" clId="{A299B12E-E556-4FD9-B950-379CF91CEAD0}" dt="2020-07-31T18:46:39.689" v="985" actId="165"/>
          <ac:spMkLst>
            <pc:docMk/>
            <pc:sldMk cId="2134694078" sldId="2015"/>
            <ac:spMk id="17" creationId="{B58859B8-B75B-4705-AE3D-007542432961}"/>
          </ac:spMkLst>
        </pc:spChg>
        <pc:spChg chg="mod topLvl">
          <ac:chgData name="Eldert Grootenboer" userId="3fe8758b2c2b58d2" providerId="LiveId" clId="{A299B12E-E556-4FD9-B950-379CF91CEAD0}" dt="2020-07-31T18:46:39.689" v="985" actId="165"/>
          <ac:spMkLst>
            <pc:docMk/>
            <pc:sldMk cId="2134694078" sldId="2015"/>
            <ac:spMk id="18" creationId="{9DF990DE-3EC2-48E5-82C7-D8E01705928B}"/>
          </ac:spMkLst>
        </pc:spChg>
        <pc:spChg chg="mod topLvl">
          <ac:chgData name="Eldert Grootenboer" userId="3fe8758b2c2b58d2" providerId="LiveId" clId="{A299B12E-E556-4FD9-B950-379CF91CEAD0}" dt="2020-07-31T18:46:39.689" v="985" actId="165"/>
          <ac:spMkLst>
            <pc:docMk/>
            <pc:sldMk cId="2134694078" sldId="2015"/>
            <ac:spMk id="19" creationId="{7A4F757C-3AC3-4BDB-BCC0-2CA3E904FEA5}"/>
          </ac:spMkLst>
        </pc:spChg>
        <pc:spChg chg="mod topLvl">
          <ac:chgData name="Eldert Grootenboer" userId="3fe8758b2c2b58d2" providerId="LiveId" clId="{A299B12E-E556-4FD9-B950-379CF91CEAD0}" dt="2020-07-31T18:46:39.689" v="985" actId="165"/>
          <ac:spMkLst>
            <pc:docMk/>
            <pc:sldMk cId="2134694078" sldId="2015"/>
            <ac:spMk id="20" creationId="{5B1BE1BD-1723-4C0F-9E39-3513FBCCEB2F}"/>
          </ac:spMkLst>
        </pc:spChg>
        <pc:grpChg chg="del mod">
          <ac:chgData name="Eldert Grootenboer" userId="3fe8758b2c2b58d2" providerId="LiveId" clId="{A299B12E-E556-4FD9-B950-379CF91CEAD0}" dt="2020-07-31T18:46:39.689" v="985" actId="165"/>
          <ac:grpSpMkLst>
            <pc:docMk/>
            <pc:sldMk cId="2134694078" sldId="2015"/>
            <ac:grpSpMk id="12" creationId="{1030F221-D7A1-470B-801F-1A9AFF0C1B2B}"/>
          </ac:grpSpMkLst>
        </pc:grpChg>
        <pc:graphicFrameChg chg="add del mod ord">
          <ac:chgData name="Eldert Grootenboer" userId="3fe8758b2c2b58d2" providerId="LiveId" clId="{A299B12E-E556-4FD9-B950-379CF91CEAD0}" dt="2020-07-31T18:46:36.600" v="984" actId="18245"/>
          <ac:graphicFrameMkLst>
            <pc:docMk/>
            <pc:sldMk cId="2134694078" sldId="2015"/>
            <ac:graphicFrameMk id="4" creationId="{4CE76EAE-38BE-41C4-83F9-C84C50ECFDEF}"/>
          </ac:graphicFrameMkLst>
        </pc:graphicFrameChg>
      </pc:sldChg>
      <pc:sldChg chg="addSp delSp modSp new mod modTransition modAnim modNotesTx">
        <pc:chgData name="Eldert Grootenboer" userId="3fe8758b2c2b58d2" providerId="LiveId" clId="{A299B12E-E556-4FD9-B950-379CF91CEAD0}" dt="2020-08-01T13:12:42.307" v="2524"/>
        <pc:sldMkLst>
          <pc:docMk/>
          <pc:sldMk cId="3065245557" sldId="2016"/>
        </pc:sldMkLst>
        <pc:spChg chg="mod">
          <ac:chgData name="Eldert Grootenboer" userId="3fe8758b2c2b58d2" providerId="LiveId" clId="{A299B12E-E556-4FD9-B950-379CF91CEAD0}" dt="2020-07-31T18:46:15.602" v="980" actId="20577"/>
          <ac:spMkLst>
            <pc:docMk/>
            <pc:sldMk cId="3065245557" sldId="2016"/>
            <ac:spMk id="2" creationId="{EA852C78-2140-4C27-A015-FCD129D7FFAA}"/>
          </ac:spMkLst>
        </pc:spChg>
        <pc:spChg chg="del">
          <ac:chgData name="Eldert Grootenboer" userId="3fe8758b2c2b58d2" providerId="LiveId" clId="{A299B12E-E556-4FD9-B950-379CF91CEAD0}" dt="2020-07-31T18:46:25.877" v="982"/>
          <ac:spMkLst>
            <pc:docMk/>
            <pc:sldMk cId="3065245557" sldId="2016"/>
            <ac:spMk id="3" creationId="{AC7655DA-B3A8-4CD5-B097-58D64DCEFA51}"/>
          </ac:spMkLst>
        </pc:spChg>
        <pc:spChg chg="mod topLvl">
          <ac:chgData name="Eldert Grootenboer" userId="3fe8758b2c2b58d2" providerId="LiveId" clId="{A299B12E-E556-4FD9-B950-379CF91CEAD0}" dt="2020-07-31T18:56:22.887" v="1033" actId="165"/>
          <ac:spMkLst>
            <pc:docMk/>
            <pc:sldMk cId="3065245557" sldId="2016"/>
            <ac:spMk id="6" creationId="{653F0192-2E0C-400E-8D3F-4F295BDCBAA5}"/>
          </ac:spMkLst>
        </pc:spChg>
        <pc:spChg chg="mod topLvl">
          <ac:chgData name="Eldert Grootenboer" userId="3fe8758b2c2b58d2" providerId="LiveId" clId="{A299B12E-E556-4FD9-B950-379CF91CEAD0}" dt="2020-07-31T18:56:22.887" v="1033" actId="165"/>
          <ac:spMkLst>
            <pc:docMk/>
            <pc:sldMk cId="3065245557" sldId="2016"/>
            <ac:spMk id="7" creationId="{EA72A24D-357E-470D-B9FA-94ED0397B622}"/>
          </ac:spMkLst>
        </pc:spChg>
        <pc:spChg chg="mod topLvl">
          <ac:chgData name="Eldert Grootenboer" userId="3fe8758b2c2b58d2" providerId="LiveId" clId="{A299B12E-E556-4FD9-B950-379CF91CEAD0}" dt="2020-07-31T18:56:22.887" v="1033" actId="165"/>
          <ac:spMkLst>
            <pc:docMk/>
            <pc:sldMk cId="3065245557" sldId="2016"/>
            <ac:spMk id="8" creationId="{DC84CF42-5CF1-460A-BD37-5CA5039C1E9D}"/>
          </ac:spMkLst>
        </pc:spChg>
        <pc:spChg chg="mod topLvl">
          <ac:chgData name="Eldert Grootenboer" userId="3fe8758b2c2b58d2" providerId="LiveId" clId="{A299B12E-E556-4FD9-B950-379CF91CEAD0}" dt="2020-07-31T18:56:22.887" v="1033" actId="165"/>
          <ac:spMkLst>
            <pc:docMk/>
            <pc:sldMk cId="3065245557" sldId="2016"/>
            <ac:spMk id="9" creationId="{1E38021C-A16D-47A5-B9C1-E009BD0B12B3}"/>
          </ac:spMkLst>
        </pc:spChg>
        <pc:spChg chg="mod topLvl">
          <ac:chgData name="Eldert Grootenboer" userId="3fe8758b2c2b58d2" providerId="LiveId" clId="{A299B12E-E556-4FD9-B950-379CF91CEAD0}" dt="2020-07-31T18:56:22.887" v="1033" actId="165"/>
          <ac:spMkLst>
            <pc:docMk/>
            <pc:sldMk cId="3065245557" sldId="2016"/>
            <ac:spMk id="10" creationId="{CE955F06-6E8C-463A-AD5B-A6CAE017A621}"/>
          </ac:spMkLst>
        </pc:spChg>
        <pc:spChg chg="mod topLvl">
          <ac:chgData name="Eldert Grootenboer" userId="3fe8758b2c2b58d2" providerId="LiveId" clId="{A299B12E-E556-4FD9-B950-379CF91CEAD0}" dt="2020-07-31T18:56:22.887" v="1033" actId="165"/>
          <ac:spMkLst>
            <pc:docMk/>
            <pc:sldMk cId="3065245557" sldId="2016"/>
            <ac:spMk id="11" creationId="{D421D3CC-79FF-4026-9FA7-462CCB0E039F}"/>
          </ac:spMkLst>
        </pc:spChg>
        <pc:spChg chg="mod topLvl">
          <ac:chgData name="Eldert Grootenboer" userId="3fe8758b2c2b58d2" providerId="LiveId" clId="{A299B12E-E556-4FD9-B950-379CF91CEAD0}" dt="2020-07-31T18:56:22.887" v="1033" actId="165"/>
          <ac:spMkLst>
            <pc:docMk/>
            <pc:sldMk cId="3065245557" sldId="2016"/>
            <ac:spMk id="12" creationId="{B1F7EEB1-8CB6-4F88-95AE-C1746FEE784B}"/>
          </ac:spMkLst>
        </pc:spChg>
        <pc:spChg chg="mod topLvl">
          <ac:chgData name="Eldert Grootenboer" userId="3fe8758b2c2b58d2" providerId="LiveId" clId="{A299B12E-E556-4FD9-B950-379CF91CEAD0}" dt="2020-07-31T18:56:22.887" v="1033" actId="165"/>
          <ac:spMkLst>
            <pc:docMk/>
            <pc:sldMk cId="3065245557" sldId="2016"/>
            <ac:spMk id="13" creationId="{A1FD7662-4BCB-4ABC-BCD8-5941B1D80D4C}"/>
          </ac:spMkLst>
        </pc:spChg>
        <pc:spChg chg="mod topLvl">
          <ac:chgData name="Eldert Grootenboer" userId="3fe8758b2c2b58d2" providerId="LiveId" clId="{A299B12E-E556-4FD9-B950-379CF91CEAD0}" dt="2020-07-31T18:56:22.887" v="1033" actId="165"/>
          <ac:spMkLst>
            <pc:docMk/>
            <pc:sldMk cId="3065245557" sldId="2016"/>
            <ac:spMk id="14" creationId="{0E73C5FE-8824-468D-9803-E994E7A80EED}"/>
          </ac:spMkLst>
        </pc:spChg>
        <pc:spChg chg="mod topLvl">
          <ac:chgData name="Eldert Grootenboer" userId="3fe8758b2c2b58d2" providerId="LiveId" clId="{A299B12E-E556-4FD9-B950-379CF91CEAD0}" dt="2020-07-31T18:56:22.887" v="1033" actId="165"/>
          <ac:spMkLst>
            <pc:docMk/>
            <pc:sldMk cId="3065245557" sldId="2016"/>
            <ac:spMk id="15" creationId="{01B82F37-0117-4FF3-930E-C02EE2F20E7F}"/>
          </ac:spMkLst>
        </pc:spChg>
        <pc:spChg chg="mod topLvl">
          <ac:chgData name="Eldert Grootenboer" userId="3fe8758b2c2b58d2" providerId="LiveId" clId="{A299B12E-E556-4FD9-B950-379CF91CEAD0}" dt="2020-07-31T18:56:22.887" v="1033" actId="165"/>
          <ac:spMkLst>
            <pc:docMk/>
            <pc:sldMk cId="3065245557" sldId="2016"/>
            <ac:spMk id="16" creationId="{4280EEC2-5472-4F77-993B-54CB76CC9022}"/>
          </ac:spMkLst>
        </pc:spChg>
        <pc:spChg chg="mod topLvl">
          <ac:chgData name="Eldert Grootenboer" userId="3fe8758b2c2b58d2" providerId="LiveId" clId="{A299B12E-E556-4FD9-B950-379CF91CEAD0}" dt="2020-07-31T18:56:22.887" v="1033" actId="165"/>
          <ac:spMkLst>
            <pc:docMk/>
            <pc:sldMk cId="3065245557" sldId="2016"/>
            <ac:spMk id="17" creationId="{B3A61703-B17C-4A37-859F-9757B38B18C5}"/>
          </ac:spMkLst>
        </pc:spChg>
        <pc:grpChg chg="del mod">
          <ac:chgData name="Eldert Grootenboer" userId="3fe8758b2c2b58d2" providerId="LiveId" clId="{A299B12E-E556-4FD9-B950-379CF91CEAD0}" dt="2020-07-31T18:56:22.887" v="1033" actId="165"/>
          <ac:grpSpMkLst>
            <pc:docMk/>
            <pc:sldMk cId="3065245557" sldId="2016"/>
            <ac:grpSpMk id="5" creationId="{7EC3EA71-A7BE-475F-B0AC-8B5BC6A2C015}"/>
          </ac:grpSpMkLst>
        </pc:grpChg>
        <pc:graphicFrameChg chg="add del mod">
          <ac:chgData name="Eldert Grootenboer" userId="3fe8758b2c2b58d2" providerId="LiveId" clId="{A299B12E-E556-4FD9-B950-379CF91CEAD0}" dt="2020-07-31T18:56:18.581" v="1032" actId="18245"/>
          <ac:graphicFrameMkLst>
            <pc:docMk/>
            <pc:sldMk cId="3065245557" sldId="2016"/>
            <ac:graphicFrameMk id="4" creationId="{B6106A96-D8C4-49DB-BF68-C3AC72825C56}"/>
          </ac:graphicFrameMkLst>
        </pc:graphicFrameChg>
      </pc:sldChg>
      <pc:sldChg chg="addSp delSp modSp new mod modTransition modAnim modNotesTx">
        <pc:chgData name="Eldert Grootenboer" userId="3fe8758b2c2b58d2" providerId="LiveId" clId="{A299B12E-E556-4FD9-B950-379CF91CEAD0}" dt="2020-08-01T13:12:42.307" v="2524"/>
        <pc:sldMkLst>
          <pc:docMk/>
          <pc:sldMk cId="288201920" sldId="2017"/>
        </pc:sldMkLst>
        <pc:spChg chg="mod">
          <ac:chgData name="Eldert Grootenboer" userId="3fe8758b2c2b58d2" providerId="LiveId" clId="{A299B12E-E556-4FD9-B950-379CF91CEAD0}" dt="2020-07-31T19:01:30.441" v="1059" actId="20577"/>
          <ac:spMkLst>
            <pc:docMk/>
            <pc:sldMk cId="288201920" sldId="2017"/>
            <ac:spMk id="2" creationId="{2C93083C-A141-41AA-ACA1-5BC2DD138AD6}"/>
          </ac:spMkLst>
        </pc:spChg>
        <pc:spChg chg="del">
          <ac:chgData name="Eldert Grootenboer" userId="3fe8758b2c2b58d2" providerId="LiveId" clId="{A299B12E-E556-4FD9-B950-379CF91CEAD0}" dt="2020-07-31T19:01:46.200" v="1060"/>
          <ac:spMkLst>
            <pc:docMk/>
            <pc:sldMk cId="288201920" sldId="2017"/>
            <ac:spMk id="3" creationId="{E0DC381B-E2AA-40EB-9249-1B6462396934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6" creationId="{A2E3F27A-9AFE-4D4E-9465-6363EC707EAA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7" creationId="{020DFA7C-F7BC-4F67-8BB1-63C81091E8FF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8" creationId="{B8334A5B-6B07-4903-B5FB-F1CBE9875E0D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9" creationId="{52CC026C-7F28-4DC7-ACBE-8D4B571D9505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10" creationId="{9F7DB3E5-329E-416A-A73A-198D0DEFD0B9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11" creationId="{7D04B3AD-9EA9-4322-A1A9-5AC46A43E4D4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12" creationId="{2F6F28D5-8325-4EA5-B7AD-2F42451E1F32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13" creationId="{41C12048-2F0B-4ED2-83FD-4E29434AB1FF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14" creationId="{2C3D1E2F-77EA-4119-8479-EC1C3EA8F7F6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15" creationId="{1A462AB2-598A-4701-A3DB-F07DCE29A9A0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16" creationId="{C14238F6-9AE8-4A0B-B22D-371C6106638C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17" creationId="{F11BD59D-47EF-4C84-8AE4-E0B594DCCF6A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18" creationId="{18DD88EC-E575-4E5A-B4C9-1229AF32A784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19" creationId="{50040AC3-9377-4F19-8F87-2C1744D05D50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20" creationId="{C47ED254-9C1B-4288-B3D6-6768F587301B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21" creationId="{DEFBC109-EF8A-40E9-B6A4-1A96F231519F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22" creationId="{01CEC189-409E-46E4-8576-490BACF8B4B9}"/>
          </ac:spMkLst>
        </pc:spChg>
        <pc:spChg chg="mod topLvl">
          <ac:chgData name="Eldert Grootenboer" userId="3fe8758b2c2b58d2" providerId="LiveId" clId="{A299B12E-E556-4FD9-B950-379CF91CEAD0}" dt="2020-07-31T19:10:32.467" v="1105" actId="165"/>
          <ac:spMkLst>
            <pc:docMk/>
            <pc:sldMk cId="288201920" sldId="2017"/>
            <ac:spMk id="23" creationId="{E01B653C-6BC0-49C2-81CE-32B08B534EC9}"/>
          </ac:spMkLst>
        </pc:spChg>
        <pc:grpChg chg="del mod">
          <ac:chgData name="Eldert Grootenboer" userId="3fe8758b2c2b58d2" providerId="LiveId" clId="{A299B12E-E556-4FD9-B950-379CF91CEAD0}" dt="2020-07-31T19:10:32.467" v="1105" actId="165"/>
          <ac:grpSpMkLst>
            <pc:docMk/>
            <pc:sldMk cId="288201920" sldId="2017"/>
            <ac:grpSpMk id="5" creationId="{A5AE97BC-EF33-4F0E-98B6-83438B24655D}"/>
          </ac:grpSpMkLst>
        </pc:grpChg>
        <pc:graphicFrameChg chg="add del mod">
          <ac:chgData name="Eldert Grootenboer" userId="3fe8758b2c2b58d2" providerId="LiveId" clId="{A299B12E-E556-4FD9-B950-379CF91CEAD0}" dt="2020-07-31T19:10:29.437" v="1104" actId="18245"/>
          <ac:graphicFrameMkLst>
            <pc:docMk/>
            <pc:sldMk cId="288201920" sldId="2017"/>
            <ac:graphicFrameMk id="4" creationId="{9212238D-B7FB-4F8C-8AB9-76CD47314EEF}"/>
          </ac:graphicFrameMkLst>
        </pc:graphicFrameChg>
      </pc:sldChg>
      <pc:sldChg chg="modSp add modTransition modAnim modNotesTx">
        <pc:chgData name="Eldert Grootenboer" userId="3fe8758b2c2b58d2" providerId="LiveId" clId="{A299B12E-E556-4FD9-B950-379CF91CEAD0}" dt="2020-08-13T11:41:45.658" v="3261" actId="20577"/>
        <pc:sldMkLst>
          <pc:docMk/>
          <pc:sldMk cId="3722787351" sldId="2018"/>
        </pc:sldMkLst>
        <pc:spChg chg="mod">
          <ac:chgData name="Eldert Grootenboer" userId="3fe8758b2c2b58d2" providerId="LiveId" clId="{A299B12E-E556-4FD9-B950-379CF91CEAD0}" dt="2020-08-01T09:29:38.971" v="1152" actId="207"/>
          <ac:spMkLst>
            <pc:docMk/>
            <pc:sldMk cId="3722787351" sldId="2018"/>
            <ac:spMk id="3" creationId="{7B01932C-ECC4-4E8E-98E0-6FD6147DA89D}"/>
          </ac:spMkLst>
        </pc:spChg>
      </pc:sldChg>
      <pc:sldChg chg="modSp add mod modTransition modAnim modNotesTx">
        <pc:chgData name="Eldert Grootenboer" userId="3fe8758b2c2b58d2" providerId="LiveId" clId="{A299B12E-E556-4FD9-B950-379CF91CEAD0}" dt="2020-08-19T09:25:57.422" v="3624" actId="114"/>
        <pc:sldMkLst>
          <pc:docMk/>
          <pc:sldMk cId="1638331846" sldId="2019"/>
        </pc:sldMkLst>
        <pc:spChg chg="mod">
          <ac:chgData name="Eldert Grootenboer" userId="3fe8758b2c2b58d2" providerId="LiveId" clId="{A299B12E-E556-4FD9-B950-379CF91CEAD0}" dt="2020-08-19T09:25:57.422" v="3624" actId="114"/>
          <ac:spMkLst>
            <pc:docMk/>
            <pc:sldMk cId="1638331846" sldId="2019"/>
            <ac:spMk id="3" creationId="{F72F5120-CECE-4C50-B909-2C84584698BE}"/>
          </ac:spMkLst>
        </pc:spChg>
      </pc:sldChg>
      <pc:sldChg chg="addSp delSp modSp new mod modTransition modClrScheme chgLayout modNotesTx">
        <pc:chgData name="Eldert Grootenboer" userId="3fe8758b2c2b58d2" providerId="LiveId" clId="{A299B12E-E556-4FD9-B950-379CF91CEAD0}" dt="2020-08-18T07:21:43.963" v="3406" actId="20577"/>
        <pc:sldMkLst>
          <pc:docMk/>
          <pc:sldMk cId="682702996" sldId="2020"/>
        </pc:sldMkLst>
        <pc:spChg chg="del mod ord">
          <ac:chgData name="Eldert Grootenboer" userId="3fe8758b2c2b58d2" providerId="LiveId" clId="{A299B12E-E556-4FD9-B950-379CF91CEAD0}" dt="2020-08-01T10:56:01.252" v="1184" actId="700"/>
          <ac:spMkLst>
            <pc:docMk/>
            <pc:sldMk cId="682702996" sldId="2020"/>
            <ac:spMk id="2" creationId="{4BE90072-479E-4443-A80B-5B3A7C730C24}"/>
          </ac:spMkLst>
        </pc:spChg>
        <pc:spChg chg="del">
          <ac:chgData name="Eldert Grootenboer" userId="3fe8758b2c2b58d2" providerId="LiveId" clId="{A299B12E-E556-4FD9-B950-379CF91CEAD0}" dt="2020-08-01T10:56:01.252" v="1184" actId="700"/>
          <ac:spMkLst>
            <pc:docMk/>
            <pc:sldMk cId="682702996" sldId="2020"/>
            <ac:spMk id="3" creationId="{0C26E0FB-611A-456D-BAB7-FDDD9D744BFA}"/>
          </ac:spMkLst>
        </pc:spChg>
        <pc:spChg chg="add mod ord">
          <ac:chgData name="Eldert Grootenboer" userId="3fe8758b2c2b58d2" providerId="LiveId" clId="{A299B12E-E556-4FD9-B950-379CF91CEAD0}" dt="2020-08-01T11:05:44.251" v="1275" actId="700"/>
          <ac:spMkLst>
            <pc:docMk/>
            <pc:sldMk cId="682702996" sldId="2020"/>
            <ac:spMk id="4" creationId="{D87D5CC4-3923-4504-88B7-CCACA70CB3B8}"/>
          </ac:spMkLst>
        </pc:spChg>
        <pc:spChg chg="add del mod ord">
          <ac:chgData name="Eldert Grootenboer" userId="3fe8758b2c2b58d2" providerId="LiveId" clId="{A299B12E-E556-4FD9-B950-379CF91CEAD0}" dt="2020-08-01T11:01:59.357" v="1250" actId="700"/>
          <ac:spMkLst>
            <pc:docMk/>
            <pc:sldMk cId="682702996" sldId="2020"/>
            <ac:spMk id="5" creationId="{00F08C4D-A00A-4AFD-81F3-A53D0594F1C7}"/>
          </ac:spMkLst>
        </pc:spChg>
        <pc:spChg chg="add del mod ord">
          <ac:chgData name="Eldert Grootenboer" userId="3fe8758b2c2b58d2" providerId="LiveId" clId="{A299B12E-E556-4FD9-B950-379CF91CEAD0}" dt="2020-08-01T11:01:59.357" v="1250" actId="700"/>
          <ac:spMkLst>
            <pc:docMk/>
            <pc:sldMk cId="682702996" sldId="2020"/>
            <ac:spMk id="6" creationId="{0D9D6A67-01D2-451B-AE0F-00DF52CB160E}"/>
          </ac:spMkLst>
        </pc:spChg>
        <pc:spChg chg="add del mod ord">
          <ac:chgData name="Eldert Grootenboer" userId="3fe8758b2c2b58d2" providerId="LiveId" clId="{A299B12E-E556-4FD9-B950-379CF91CEAD0}" dt="2020-08-01T11:04:02.637" v="1259" actId="700"/>
          <ac:spMkLst>
            <pc:docMk/>
            <pc:sldMk cId="682702996" sldId="2020"/>
            <ac:spMk id="7" creationId="{7F4B30D5-D6D7-4DE0-8460-B158F42FBA6E}"/>
          </ac:spMkLst>
        </pc:spChg>
        <pc:spChg chg="add del mod ord">
          <ac:chgData name="Eldert Grootenboer" userId="3fe8758b2c2b58d2" providerId="LiveId" clId="{A299B12E-E556-4FD9-B950-379CF91CEAD0}" dt="2020-08-01T11:04:02.637" v="1259" actId="700"/>
          <ac:spMkLst>
            <pc:docMk/>
            <pc:sldMk cId="682702996" sldId="2020"/>
            <ac:spMk id="8" creationId="{A6D0E739-3B38-40B6-861C-822A1A25457C}"/>
          </ac:spMkLst>
        </pc:spChg>
        <pc:spChg chg="add del mod ord">
          <ac:chgData name="Eldert Grootenboer" userId="3fe8758b2c2b58d2" providerId="LiveId" clId="{A299B12E-E556-4FD9-B950-379CF91CEAD0}" dt="2020-08-01T11:04:42.092" v="1265" actId="700"/>
          <ac:spMkLst>
            <pc:docMk/>
            <pc:sldMk cId="682702996" sldId="2020"/>
            <ac:spMk id="9" creationId="{CAC9A560-8B3A-44B2-BF92-17390E666FB4}"/>
          </ac:spMkLst>
        </pc:spChg>
        <pc:spChg chg="add del mod ord">
          <ac:chgData name="Eldert Grootenboer" userId="3fe8758b2c2b58d2" providerId="LiveId" clId="{A299B12E-E556-4FD9-B950-379CF91CEAD0}" dt="2020-08-01T11:05:44.251" v="1275" actId="700"/>
          <ac:spMkLst>
            <pc:docMk/>
            <pc:sldMk cId="682702996" sldId="2020"/>
            <ac:spMk id="10" creationId="{8477F11A-6E98-4985-99AF-62610F451A62}"/>
          </ac:spMkLst>
        </pc:spChg>
        <pc:spChg chg="add del mod ord">
          <ac:chgData name="Eldert Grootenboer" userId="3fe8758b2c2b58d2" providerId="LiveId" clId="{A299B12E-E556-4FD9-B950-379CF91CEAD0}" dt="2020-08-01T11:05:44.251" v="1275" actId="700"/>
          <ac:spMkLst>
            <pc:docMk/>
            <pc:sldMk cId="682702996" sldId="2020"/>
            <ac:spMk id="11" creationId="{0297B49A-522D-433E-B9F0-4BA96BECAD7C}"/>
          </ac:spMkLst>
        </pc:spChg>
        <pc:spChg chg="add del mod ord">
          <ac:chgData name="Eldert Grootenboer" userId="3fe8758b2c2b58d2" providerId="LiveId" clId="{A299B12E-E556-4FD9-B950-379CF91CEAD0}" dt="2020-08-01T11:05:49.468" v="1276"/>
          <ac:spMkLst>
            <pc:docMk/>
            <pc:sldMk cId="682702996" sldId="2020"/>
            <ac:spMk id="12" creationId="{204C699B-D728-4FEE-AB18-1B6ACC617376}"/>
          </ac:spMkLst>
        </pc:spChg>
        <pc:picChg chg="add del mod">
          <ac:chgData name="Eldert Grootenboer" userId="3fe8758b2c2b58d2" providerId="LiveId" clId="{A299B12E-E556-4FD9-B950-379CF91CEAD0}" dt="2020-08-01T11:01:57.567" v="1249"/>
          <ac:picMkLst>
            <pc:docMk/>
            <pc:sldMk cId="682702996" sldId="2020"/>
            <ac:picMk id="2050" creationId="{B25A9DCC-C6FA-4972-AB25-3F3D651D9ED5}"/>
          </ac:picMkLst>
        </pc:picChg>
        <pc:picChg chg="add del mod">
          <ac:chgData name="Eldert Grootenboer" userId="3fe8758b2c2b58d2" providerId="LiveId" clId="{A299B12E-E556-4FD9-B950-379CF91CEAD0}" dt="2020-08-01T11:04:25.801" v="1262"/>
          <ac:picMkLst>
            <pc:docMk/>
            <pc:sldMk cId="682702996" sldId="2020"/>
            <ac:picMk id="2052" creationId="{83013383-AC57-4C72-8D97-79ED2D7B6B18}"/>
          </ac:picMkLst>
        </pc:picChg>
        <pc:picChg chg="add del mod">
          <ac:chgData name="Eldert Grootenboer" userId="3fe8758b2c2b58d2" providerId="LiveId" clId="{A299B12E-E556-4FD9-B950-379CF91CEAD0}" dt="2020-08-01T11:04:28.156" v="1264"/>
          <ac:picMkLst>
            <pc:docMk/>
            <pc:sldMk cId="682702996" sldId="2020"/>
            <ac:picMk id="2054" creationId="{BFAC11A6-161D-4512-BD8B-99624A25BF09}"/>
          </ac:picMkLst>
        </pc:picChg>
        <pc:picChg chg="add del mod">
          <ac:chgData name="Eldert Grootenboer" userId="3fe8758b2c2b58d2" providerId="LiveId" clId="{A299B12E-E556-4FD9-B950-379CF91CEAD0}" dt="2020-08-01T11:04:43.958" v="1267"/>
          <ac:picMkLst>
            <pc:docMk/>
            <pc:sldMk cId="682702996" sldId="2020"/>
            <ac:picMk id="2056" creationId="{15B825FD-0291-4CD3-A92B-0B34D4DAD877}"/>
          </ac:picMkLst>
        </pc:picChg>
        <pc:picChg chg="add mod">
          <ac:chgData name="Eldert Grootenboer" userId="3fe8758b2c2b58d2" providerId="LiveId" clId="{A299B12E-E556-4FD9-B950-379CF91CEAD0}" dt="2020-08-03T07:52:56.509" v="2608"/>
          <ac:picMkLst>
            <pc:docMk/>
            <pc:sldMk cId="682702996" sldId="2020"/>
            <ac:picMk id="2058" creationId="{5A537FB3-9DB1-4594-B787-A1E4021F5621}"/>
          </ac:picMkLst>
        </pc:picChg>
      </pc:sldChg>
      <pc:sldChg chg="addSp delSp modSp new mod modTransition modClrScheme chgLayout modNotesTx">
        <pc:chgData name="Eldert Grootenboer" userId="3fe8758b2c2b58d2" providerId="LiveId" clId="{A299B12E-E556-4FD9-B950-379CF91CEAD0}" dt="2020-08-19T09:23:38.060" v="3622" actId="20577"/>
        <pc:sldMkLst>
          <pc:docMk/>
          <pc:sldMk cId="3873646075" sldId="2021"/>
        </pc:sldMkLst>
        <pc:spChg chg="del mod ord">
          <ac:chgData name="Eldert Grootenboer" userId="3fe8758b2c2b58d2" providerId="LiveId" clId="{A299B12E-E556-4FD9-B950-379CF91CEAD0}" dt="2020-08-01T10:56:23.979" v="1208" actId="700"/>
          <ac:spMkLst>
            <pc:docMk/>
            <pc:sldMk cId="3873646075" sldId="2021"/>
            <ac:spMk id="2" creationId="{DB323E55-86ED-4EF4-85B0-7C0DEDC57681}"/>
          </ac:spMkLst>
        </pc:spChg>
        <pc:spChg chg="add del mod ord">
          <ac:chgData name="Eldert Grootenboer" userId="3fe8758b2c2b58d2" providerId="LiveId" clId="{A299B12E-E556-4FD9-B950-379CF91CEAD0}" dt="2020-08-01T11:05:58.979" v="1277" actId="700"/>
          <ac:spMkLst>
            <pc:docMk/>
            <pc:sldMk cId="3873646075" sldId="2021"/>
            <ac:spMk id="3" creationId="{03FC87AA-8451-40D8-B56F-04CEDE91DBC3}"/>
          </ac:spMkLst>
        </pc:spChg>
        <pc:spChg chg="add del mod ord">
          <ac:chgData name="Eldert Grootenboer" userId="3fe8758b2c2b58d2" providerId="LiveId" clId="{A299B12E-E556-4FD9-B950-379CF91CEAD0}" dt="2020-08-01T11:01:53.714" v="1246" actId="700"/>
          <ac:spMkLst>
            <pc:docMk/>
            <pc:sldMk cId="3873646075" sldId="2021"/>
            <ac:spMk id="4" creationId="{987FFAC5-A563-4E5E-8EE0-EA740B49D12D}"/>
          </ac:spMkLst>
        </pc:spChg>
        <pc:spChg chg="add del mod ord">
          <ac:chgData name="Eldert Grootenboer" userId="3fe8758b2c2b58d2" providerId="LiveId" clId="{A299B12E-E556-4FD9-B950-379CF91CEAD0}" dt="2020-08-01T11:01:53.714" v="1246" actId="700"/>
          <ac:spMkLst>
            <pc:docMk/>
            <pc:sldMk cId="3873646075" sldId="2021"/>
            <ac:spMk id="5" creationId="{299523EA-2FA5-4EB8-9713-547CEF12F504}"/>
          </ac:spMkLst>
        </pc:spChg>
        <pc:spChg chg="add del mod ord">
          <ac:chgData name="Eldert Grootenboer" userId="3fe8758b2c2b58d2" providerId="LiveId" clId="{A299B12E-E556-4FD9-B950-379CF91CEAD0}" dt="2020-08-01T11:01:53.714" v="1246" actId="700"/>
          <ac:spMkLst>
            <pc:docMk/>
            <pc:sldMk cId="3873646075" sldId="2021"/>
            <ac:spMk id="6" creationId="{0F263F28-87C8-473F-BF33-B4CE1827B756}"/>
          </ac:spMkLst>
        </pc:spChg>
        <pc:spChg chg="add del mod ord">
          <ac:chgData name="Eldert Grootenboer" userId="3fe8758b2c2b58d2" providerId="LiveId" clId="{A299B12E-E556-4FD9-B950-379CF91CEAD0}" dt="2020-08-01T11:01:53.298" v="1245" actId="700"/>
          <ac:spMkLst>
            <pc:docMk/>
            <pc:sldMk cId="3873646075" sldId="2021"/>
            <ac:spMk id="7" creationId="{3BABECFD-669E-47FF-8E66-CA63C2DAE04E}"/>
          </ac:spMkLst>
        </pc:spChg>
        <pc:spChg chg="add del mod ord">
          <ac:chgData name="Eldert Grootenboer" userId="3fe8758b2c2b58d2" providerId="LiveId" clId="{A299B12E-E556-4FD9-B950-379CF91CEAD0}" dt="2020-08-01T11:01:53.298" v="1245" actId="700"/>
          <ac:spMkLst>
            <pc:docMk/>
            <pc:sldMk cId="3873646075" sldId="2021"/>
            <ac:spMk id="8" creationId="{4A8341FF-CB9D-47FE-8C2E-B8C175C4F32E}"/>
          </ac:spMkLst>
        </pc:spChg>
        <pc:spChg chg="add del mod ord">
          <ac:chgData name="Eldert Grootenboer" userId="3fe8758b2c2b58d2" providerId="LiveId" clId="{A299B12E-E556-4FD9-B950-379CF91CEAD0}" dt="2020-08-01T11:01:53.298" v="1245" actId="700"/>
          <ac:spMkLst>
            <pc:docMk/>
            <pc:sldMk cId="3873646075" sldId="2021"/>
            <ac:spMk id="9" creationId="{900CAD1B-7061-43F8-879D-3A316949125C}"/>
          </ac:spMkLst>
        </pc:spChg>
        <pc:spChg chg="add mod ord">
          <ac:chgData name="Eldert Grootenboer" userId="3fe8758b2c2b58d2" providerId="LiveId" clId="{A299B12E-E556-4FD9-B950-379CF91CEAD0}" dt="2020-08-01T11:06:05.690" v="1292" actId="20577"/>
          <ac:spMkLst>
            <pc:docMk/>
            <pc:sldMk cId="3873646075" sldId="2021"/>
            <ac:spMk id="10" creationId="{45E7359C-7CB0-41AD-BF51-38BED42ECC16}"/>
          </ac:spMkLst>
        </pc:spChg>
        <pc:spChg chg="add del mod ord">
          <ac:chgData name="Eldert Grootenboer" userId="3fe8758b2c2b58d2" providerId="LiveId" clId="{A299B12E-E556-4FD9-B950-379CF91CEAD0}" dt="2020-08-01T11:06:12.854" v="1293"/>
          <ac:spMkLst>
            <pc:docMk/>
            <pc:sldMk cId="3873646075" sldId="2021"/>
            <ac:spMk id="11" creationId="{8A635FA8-A9BA-420F-8C3D-760DB0BE3223}"/>
          </ac:spMkLst>
        </pc:spChg>
        <pc:picChg chg="add del mod">
          <ac:chgData name="Eldert Grootenboer" userId="3fe8758b2c2b58d2" providerId="LiveId" clId="{A299B12E-E556-4FD9-B950-379CF91CEAD0}" dt="2020-08-01T11:01:51.056" v="1239"/>
          <ac:picMkLst>
            <pc:docMk/>
            <pc:sldMk cId="3873646075" sldId="2021"/>
            <ac:picMk id="3074" creationId="{443FDC0F-75C1-4390-8DAA-6946B131FFC4}"/>
          </ac:picMkLst>
        </pc:picChg>
        <pc:picChg chg="add mod">
          <ac:chgData name="Eldert Grootenboer" userId="3fe8758b2c2b58d2" providerId="LiveId" clId="{A299B12E-E556-4FD9-B950-379CF91CEAD0}" dt="2020-08-01T11:06:12.854" v="1293"/>
          <ac:picMkLst>
            <pc:docMk/>
            <pc:sldMk cId="3873646075" sldId="2021"/>
            <ac:picMk id="3076" creationId="{1D1F62EC-68AF-43EC-A204-5059858D23C3}"/>
          </ac:picMkLst>
        </pc:picChg>
      </pc:sldChg>
      <pc:sldChg chg="addSp delSp modSp new mod modTransition modClrScheme chgLayout modNotesTx">
        <pc:chgData name="Eldert Grootenboer" userId="3fe8758b2c2b58d2" providerId="LiveId" clId="{A299B12E-E556-4FD9-B950-379CF91CEAD0}" dt="2020-08-19T09:23:21.767" v="3620" actId="20577"/>
        <pc:sldMkLst>
          <pc:docMk/>
          <pc:sldMk cId="3914615215" sldId="2022"/>
        </pc:sldMkLst>
        <pc:spChg chg="del mod ord">
          <ac:chgData name="Eldert Grootenboer" userId="3fe8758b2c2b58d2" providerId="LiveId" clId="{A299B12E-E556-4FD9-B950-379CF91CEAD0}" dt="2020-08-01T11:06:27.178" v="1295" actId="700"/>
          <ac:spMkLst>
            <pc:docMk/>
            <pc:sldMk cId="3914615215" sldId="2022"/>
            <ac:spMk id="2" creationId="{42140EA2-5E13-4926-8DF4-319BD1171D33}"/>
          </ac:spMkLst>
        </pc:spChg>
        <pc:spChg chg="del mod ord">
          <ac:chgData name="Eldert Grootenboer" userId="3fe8758b2c2b58d2" providerId="LiveId" clId="{A299B12E-E556-4FD9-B950-379CF91CEAD0}" dt="2020-08-01T11:06:27.178" v="1295" actId="700"/>
          <ac:spMkLst>
            <pc:docMk/>
            <pc:sldMk cId="3914615215" sldId="2022"/>
            <ac:spMk id="3" creationId="{2C5C4558-969B-4B51-B292-0FEB00CD0730}"/>
          </ac:spMkLst>
        </pc:spChg>
        <pc:spChg chg="add mod ord">
          <ac:chgData name="Eldert Grootenboer" userId="3fe8758b2c2b58d2" providerId="LiveId" clId="{A299B12E-E556-4FD9-B950-379CF91CEAD0}" dt="2020-08-01T11:06:39.148" v="1327" actId="20577"/>
          <ac:spMkLst>
            <pc:docMk/>
            <pc:sldMk cId="3914615215" sldId="2022"/>
            <ac:spMk id="4" creationId="{6079530C-1F73-4B83-8878-CB069422A3C3}"/>
          </ac:spMkLst>
        </pc:spChg>
        <pc:spChg chg="add del mod ord">
          <ac:chgData name="Eldert Grootenboer" userId="3fe8758b2c2b58d2" providerId="LiveId" clId="{A299B12E-E556-4FD9-B950-379CF91CEAD0}" dt="2020-08-01T11:10:49.606" v="1328"/>
          <ac:spMkLst>
            <pc:docMk/>
            <pc:sldMk cId="3914615215" sldId="2022"/>
            <ac:spMk id="5" creationId="{21E6F00A-B24C-4332-98F1-00D005E3957A}"/>
          </ac:spMkLst>
        </pc:spChg>
        <pc:picChg chg="add mod">
          <ac:chgData name="Eldert Grootenboer" userId="3fe8758b2c2b58d2" providerId="LiveId" clId="{A299B12E-E556-4FD9-B950-379CF91CEAD0}" dt="2020-08-01T11:10:49.606" v="1328"/>
          <ac:picMkLst>
            <pc:docMk/>
            <pc:sldMk cId="3914615215" sldId="2022"/>
            <ac:picMk id="6" creationId="{22FF8721-4A42-41AF-85DE-E1DB0071CCFC}"/>
          </ac:picMkLst>
        </pc:picChg>
      </pc:sldChg>
      <pc:sldChg chg="addSp delSp modSp new mod modTransition modClrScheme chgLayout modNotesTx">
        <pc:chgData name="Eldert Grootenboer" userId="3fe8758b2c2b58d2" providerId="LiveId" clId="{A299B12E-E556-4FD9-B950-379CF91CEAD0}" dt="2020-08-19T09:23:07.238" v="3618" actId="20577"/>
        <pc:sldMkLst>
          <pc:docMk/>
          <pc:sldMk cId="1757049851" sldId="2023"/>
        </pc:sldMkLst>
        <pc:spChg chg="del mod ord">
          <ac:chgData name="Eldert Grootenboer" userId="3fe8758b2c2b58d2" providerId="LiveId" clId="{A299B12E-E556-4FD9-B950-379CF91CEAD0}" dt="2020-08-01T11:11:09.937" v="1330" actId="700"/>
          <ac:spMkLst>
            <pc:docMk/>
            <pc:sldMk cId="1757049851" sldId="2023"/>
            <ac:spMk id="2" creationId="{A0F7DAA1-EB3F-4E98-B3E4-76FDBD467A66}"/>
          </ac:spMkLst>
        </pc:spChg>
        <pc:spChg chg="del mod ord">
          <ac:chgData name="Eldert Grootenboer" userId="3fe8758b2c2b58d2" providerId="LiveId" clId="{A299B12E-E556-4FD9-B950-379CF91CEAD0}" dt="2020-08-01T11:11:09.937" v="1330" actId="700"/>
          <ac:spMkLst>
            <pc:docMk/>
            <pc:sldMk cId="1757049851" sldId="2023"/>
            <ac:spMk id="3" creationId="{AF61C2AC-7943-46DB-A068-0522213CF791}"/>
          </ac:spMkLst>
        </pc:spChg>
        <pc:spChg chg="add mod ord">
          <ac:chgData name="Eldert Grootenboer" userId="3fe8758b2c2b58d2" providerId="LiveId" clId="{A299B12E-E556-4FD9-B950-379CF91CEAD0}" dt="2020-08-01T11:11:14.657" v="1334" actId="20577"/>
          <ac:spMkLst>
            <pc:docMk/>
            <pc:sldMk cId="1757049851" sldId="2023"/>
            <ac:spMk id="4" creationId="{28995E2D-6A0A-4993-8FAD-FCAF6B22E92D}"/>
          </ac:spMkLst>
        </pc:spChg>
        <pc:spChg chg="add del mod ord">
          <ac:chgData name="Eldert Grootenboer" userId="3fe8758b2c2b58d2" providerId="LiveId" clId="{A299B12E-E556-4FD9-B950-379CF91CEAD0}" dt="2020-08-01T11:12:23.720" v="1335"/>
          <ac:spMkLst>
            <pc:docMk/>
            <pc:sldMk cId="1757049851" sldId="2023"/>
            <ac:spMk id="5" creationId="{3F9EA171-5B70-4EA6-8E42-8107F2CE2167}"/>
          </ac:spMkLst>
        </pc:spChg>
        <pc:picChg chg="add mod">
          <ac:chgData name="Eldert Grootenboer" userId="3fe8758b2c2b58d2" providerId="LiveId" clId="{A299B12E-E556-4FD9-B950-379CF91CEAD0}" dt="2020-08-01T11:12:23.720" v="1335"/>
          <ac:picMkLst>
            <pc:docMk/>
            <pc:sldMk cId="1757049851" sldId="2023"/>
            <ac:picMk id="4098" creationId="{2501986F-F284-4E7C-BBAD-C7A424E8C3C7}"/>
          </ac:picMkLst>
        </pc:picChg>
      </pc:sldChg>
      <pc:sldChg chg="addSp delSp modSp new mod modTransition modNotesTx">
        <pc:chgData name="Eldert Grootenboer" userId="3fe8758b2c2b58d2" providerId="LiveId" clId="{A299B12E-E556-4FD9-B950-379CF91CEAD0}" dt="2020-08-19T09:23:00.859" v="3616" actId="20577"/>
        <pc:sldMkLst>
          <pc:docMk/>
          <pc:sldMk cId="3581374232" sldId="2024"/>
        </pc:sldMkLst>
        <pc:spChg chg="mod">
          <ac:chgData name="Eldert Grootenboer" userId="3fe8758b2c2b58d2" providerId="LiveId" clId="{A299B12E-E556-4FD9-B950-379CF91CEAD0}" dt="2020-08-01T11:13:54.706" v="1347" actId="20577"/>
          <ac:spMkLst>
            <pc:docMk/>
            <pc:sldMk cId="3581374232" sldId="2024"/>
            <ac:spMk id="2" creationId="{9B0FAE6A-A55E-4B7A-B9B9-942A5706D70F}"/>
          </ac:spMkLst>
        </pc:spChg>
        <pc:spChg chg="del">
          <ac:chgData name="Eldert Grootenboer" userId="3fe8758b2c2b58d2" providerId="LiveId" clId="{A299B12E-E556-4FD9-B950-379CF91CEAD0}" dt="2020-08-01T11:13:49.390" v="1337"/>
          <ac:spMkLst>
            <pc:docMk/>
            <pc:sldMk cId="3581374232" sldId="2024"/>
            <ac:spMk id="3" creationId="{9B3B45EE-8FB2-40C8-B31D-0279F5E90395}"/>
          </ac:spMkLst>
        </pc:spChg>
        <pc:picChg chg="add mod">
          <ac:chgData name="Eldert Grootenboer" userId="3fe8758b2c2b58d2" providerId="LiveId" clId="{A299B12E-E556-4FD9-B950-379CF91CEAD0}" dt="2020-08-01T11:13:49.390" v="1337"/>
          <ac:picMkLst>
            <pc:docMk/>
            <pc:sldMk cId="3581374232" sldId="2024"/>
            <ac:picMk id="5122" creationId="{CD0BAF99-86BD-4DD7-8940-657D51CCB872}"/>
          </ac:picMkLst>
        </pc:picChg>
      </pc:sldChg>
      <pc:sldChg chg="addSp delSp modSp new mod modTransition modClrScheme chgLayout">
        <pc:chgData name="Eldert Grootenboer" userId="3fe8758b2c2b58d2" providerId="LiveId" clId="{A299B12E-E556-4FD9-B950-379CF91CEAD0}" dt="2020-08-01T13:12:42.307" v="2524"/>
        <pc:sldMkLst>
          <pc:docMk/>
          <pc:sldMk cId="1227949151" sldId="2025"/>
        </pc:sldMkLst>
        <pc:spChg chg="del mod ord">
          <ac:chgData name="Eldert Grootenboer" userId="3fe8758b2c2b58d2" providerId="LiveId" clId="{A299B12E-E556-4FD9-B950-379CF91CEAD0}" dt="2020-08-01T11:14:25.297" v="1351" actId="700"/>
          <ac:spMkLst>
            <pc:docMk/>
            <pc:sldMk cId="1227949151" sldId="2025"/>
            <ac:spMk id="2" creationId="{B9052E97-5EF5-4A82-9ACE-40123F77FAA1}"/>
          </ac:spMkLst>
        </pc:spChg>
        <pc:spChg chg="add mod ord">
          <ac:chgData name="Eldert Grootenboer" userId="3fe8758b2c2b58d2" providerId="LiveId" clId="{A299B12E-E556-4FD9-B950-379CF91CEAD0}" dt="2020-08-01T11:14:30.856" v="1374" actId="5793"/>
          <ac:spMkLst>
            <pc:docMk/>
            <pc:sldMk cId="1227949151" sldId="2025"/>
            <ac:spMk id="3" creationId="{2D82AE10-D166-4377-A4DE-EA7ABA9E03FD}"/>
          </ac:spMkLst>
        </pc:spChg>
        <pc:spChg chg="add del mod ord">
          <ac:chgData name="Eldert Grootenboer" userId="3fe8758b2c2b58d2" providerId="LiveId" clId="{A299B12E-E556-4FD9-B950-379CF91CEAD0}" dt="2020-08-01T11:15:55.760" v="1375"/>
          <ac:spMkLst>
            <pc:docMk/>
            <pc:sldMk cId="1227949151" sldId="2025"/>
            <ac:spMk id="4" creationId="{51AB8053-E0D8-45B8-ABB5-A3B8328148E0}"/>
          </ac:spMkLst>
        </pc:spChg>
        <pc:picChg chg="add mod">
          <ac:chgData name="Eldert Grootenboer" userId="3fe8758b2c2b58d2" providerId="LiveId" clId="{A299B12E-E556-4FD9-B950-379CF91CEAD0}" dt="2020-08-01T11:15:55.760" v="1375"/>
          <ac:picMkLst>
            <pc:docMk/>
            <pc:sldMk cId="1227949151" sldId="2025"/>
            <ac:picMk id="6146" creationId="{587E9859-CD3A-4356-9128-5FD7682BA167}"/>
          </ac:picMkLst>
        </pc:picChg>
      </pc:sldChg>
      <pc:sldChg chg="addSp delSp modSp new mod modTransition modClrScheme delAnim modAnim chgLayout modNotesTx">
        <pc:chgData name="Eldert Grootenboer" userId="3fe8758b2c2b58d2" providerId="LiveId" clId="{A299B12E-E556-4FD9-B950-379CF91CEAD0}" dt="2020-08-12T09:11:19.399" v="3089"/>
        <pc:sldMkLst>
          <pc:docMk/>
          <pc:sldMk cId="715254139" sldId="2026"/>
        </pc:sldMkLst>
        <pc:spChg chg="del mod ord">
          <ac:chgData name="Eldert Grootenboer" userId="3fe8758b2c2b58d2" providerId="LiveId" clId="{A299B12E-E556-4FD9-B950-379CF91CEAD0}" dt="2020-08-01T11:17:58.748" v="1377" actId="700"/>
          <ac:spMkLst>
            <pc:docMk/>
            <pc:sldMk cId="715254139" sldId="2026"/>
            <ac:spMk id="2" creationId="{BC58450C-29DD-4B37-A4A4-63FCE8736CBF}"/>
          </ac:spMkLst>
        </pc:spChg>
        <pc:spChg chg="del mod ord">
          <ac:chgData name="Eldert Grootenboer" userId="3fe8758b2c2b58d2" providerId="LiveId" clId="{A299B12E-E556-4FD9-B950-379CF91CEAD0}" dt="2020-08-01T11:17:58.748" v="1377" actId="700"/>
          <ac:spMkLst>
            <pc:docMk/>
            <pc:sldMk cId="715254139" sldId="2026"/>
            <ac:spMk id="3" creationId="{434DE272-0DBF-4181-904E-281557C9438B}"/>
          </ac:spMkLst>
        </pc:spChg>
        <pc:spChg chg="add mod ord">
          <ac:chgData name="Eldert Grootenboer" userId="3fe8758b2c2b58d2" providerId="LiveId" clId="{A299B12E-E556-4FD9-B950-379CF91CEAD0}" dt="2020-08-08T09:27:53.740" v="2631" actId="20577"/>
          <ac:spMkLst>
            <pc:docMk/>
            <pc:sldMk cId="715254139" sldId="2026"/>
            <ac:spMk id="4" creationId="{FF935DC8-B243-4F76-8158-E84DEC733BDF}"/>
          </ac:spMkLst>
        </pc:spChg>
        <pc:spChg chg="add del mod ord">
          <ac:chgData name="Eldert Grootenboer" userId="3fe8758b2c2b58d2" providerId="LiveId" clId="{A299B12E-E556-4FD9-B950-379CF91CEAD0}" dt="2020-08-01T11:27:45.827" v="1496" actId="700"/>
          <ac:spMkLst>
            <pc:docMk/>
            <pc:sldMk cId="715254139" sldId="2026"/>
            <ac:spMk id="5" creationId="{323CACB1-E6B7-4E19-BCB7-18DA6C7B158C}"/>
          </ac:spMkLst>
        </pc:spChg>
        <pc:spChg chg="add del mod ord">
          <ac:chgData name="Eldert Grootenboer" userId="3fe8758b2c2b58d2" providerId="LiveId" clId="{A299B12E-E556-4FD9-B950-379CF91CEAD0}" dt="2020-08-01T11:27:58.977" v="1501" actId="700"/>
          <ac:spMkLst>
            <pc:docMk/>
            <pc:sldMk cId="715254139" sldId="2026"/>
            <ac:spMk id="9" creationId="{860F1EB4-E737-4D6B-A9BD-3F4678BED7C3}"/>
          </ac:spMkLst>
        </pc:spChg>
        <pc:spChg chg="add del mod ord">
          <ac:chgData name="Eldert Grootenboer" userId="3fe8758b2c2b58d2" providerId="LiveId" clId="{A299B12E-E556-4FD9-B950-379CF91CEAD0}" dt="2020-08-01T11:27:58.977" v="1501" actId="700"/>
          <ac:spMkLst>
            <pc:docMk/>
            <pc:sldMk cId="715254139" sldId="2026"/>
            <ac:spMk id="10" creationId="{63F4D7EE-C783-434A-A47E-17B9CFCAF40D}"/>
          </ac:spMkLst>
        </pc:spChg>
        <pc:spChg chg="add del mod ord">
          <ac:chgData name="Eldert Grootenboer" userId="3fe8758b2c2b58d2" providerId="LiveId" clId="{A299B12E-E556-4FD9-B950-379CF91CEAD0}" dt="2020-08-01T11:28:36.919" v="1514" actId="22"/>
          <ac:spMkLst>
            <pc:docMk/>
            <pc:sldMk cId="715254139" sldId="2026"/>
            <ac:spMk id="17" creationId="{BC4E5901-AFE3-46A0-BBE2-14A9EEF5ADE2}"/>
          </ac:spMkLst>
        </pc:spChg>
        <pc:spChg chg="add del mod ord">
          <ac:chgData name="Eldert Grootenboer" userId="3fe8758b2c2b58d2" providerId="LiveId" clId="{A299B12E-E556-4FD9-B950-379CF91CEAD0}" dt="2020-08-08T09:29:43.264" v="2713" actId="20577"/>
          <ac:spMkLst>
            <pc:docMk/>
            <pc:sldMk cId="715254139" sldId="2026"/>
            <ac:spMk id="18" creationId="{2DAF66EE-5050-4FCB-AFCA-1C9D005C62EC}"/>
          </ac:spMkLst>
        </pc:spChg>
        <pc:spChg chg="add del mod ord">
          <ac:chgData name="Eldert Grootenboer" userId="3fe8758b2c2b58d2" providerId="LiveId" clId="{A299B12E-E556-4FD9-B950-379CF91CEAD0}" dt="2020-08-01T11:28:35.594" v="1513" actId="700"/>
          <ac:spMkLst>
            <pc:docMk/>
            <pc:sldMk cId="715254139" sldId="2026"/>
            <ac:spMk id="26" creationId="{6A80B1C2-0DB0-4DC5-ABC7-7B0847F3CC0A}"/>
          </ac:spMkLst>
        </pc:spChg>
        <pc:spChg chg="add del mod ord">
          <ac:chgData name="Eldert Grootenboer" userId="3fe8758b2c2b58d2" providerId="LiveId" clId="{A299B12E-E556-4FD9-B950-379CF91CEAD0}" dt="2020-08-01T11:28:35.594" v="1513" actId="700"/>
          <ac:spMkLst>
            <pc:docMk/>
            <pc:sldMk cId="715254139" sldId="2026"/>
            <ac:spMk id="27" creationId="{5A1C6C52-0382-4401-B6F9-D837C4EC1810}"/>
          </ac:spMkLst>
        </pc:spChg>
        <pc:spChg chg="add mod">
          <ac:chgData name="Eldert Grootenboer" userId="3fe8758b2c2b58d2" providerId="LiveId" clId="{A299B12E-E556-4FD9-B950-379CF91CEAD0}" dt="2020-08-01T11:30:46.218" v="1523"/>
          <ac:spMkLst>
            <pc:docMk/>
            <pc:sldMk cId="715254139" sldId="2026"/>
            <ac:spMk id="32" creationId="{B9BBEFAB-191B-4EBC-8672-19FE2613DEF6}"/>
          </ac:spMkLst>
        </pc:spChg>
        <pc:spChg chg="add mod">
          <ac:chgData name="Eldert Grootenboer" userId="3fe8758b2c2b58d2" providerId="LiveId" clId="{A299B12E-E556-4FD9-B950-379CF91CEAD0}" dt="2020-08-01T11:30:46.218" v="1523"/>
          <ac:spMkLst>
            <pc:docMk/>
            <pc:sldMk cId="715254139" sldId="2026"/>
            <ac:spMk id="33" creationId="{07423D9E-3EAD-4312-9A99-7C5BE0844C23}"/>
          </ac:spMkLst>
        </pc:spChg>
        <pc:spChg chg="add mod">
          <ac:chgData name="Eldert Grootenboer" userId="3fe8758b2c2b58d2" providerId="LiveId" clId="{A299B12E-E556-4FD9-B950-379CF91CEAD0}" dt="2020-08-01T11:30:46.218" v="1523"/>
          <ac:spMkLst>
            <pc:docMk/>
            <pc:sldMk cId="715254139" sldId="2026"/>
            <ac:spMk id="34" creationId="{9202BA87-FFDC-4FC9-93E0-48235DF7B65E}"/>
          </ac:spMkLst>
        </pc:spChg>
        <pc:spChg chg="add mod">
          <ac:chgData name="Eldert Grootenboer" userId="3fe8758b2c2b58d2" providerId="LiveId" clId="{A299B12E-E556-4FD9-B950-379CF91CEAD0}" dt="2020-08-01T11:30:46.218" v="1523"/>
          <ac:spMkLst>
            <pc:docMk/>
            <pc:sldMk cId="715254139" sldId="2026"/>
            <ac:spMk id="35" creationId="{283F8623-36A9-4116-AD75-A280A6AE7881}"/>
          </ac:spMkLst>
        </pc:spChg>
        <pc:spChg chg="add mod">
          <ac:chgData name="Eldert Grootenboer" userId="3fe8758b2c2b58d2" providerId="LiveId" clId="{A299B12E-E556-4FD9-B950-379CF91CEAD0}" dt="2020-08-01T11:30:46.218" v="1523"/>
          <ac:spMkLst>
            <pc:docMk/>
            <pc:sldMk cId="715254139" sldId="2026"/>
            <ac:spMk id="36" creationId="{320340AB-72DA-4406-93C3-1F65991E97EE}"/>
          </ac:spMkLst>
        </pc:spChg>
        <pc:spChg chg="add mod">
          <ac:chgData name="Eldert Grootenboer" userId="3fe8758b2c2b58d2" providerId="LiveId" clId="{A299B12E-E556-4FD9-B950-379CF91CEAD0}" dt="2020-08-01T11:30:46.218" v="1523"/>
          <ac:spMkLst>
            <pc:docMk/>
            <pc:sldMk cId="715254139" sldId="2026"/>
            <ac:spMk id="37" creationId="{3F22F65D-BE23-4772-BD45-02093BAC6580}"/>
          </ac:spMkLst>
        </pc:spChg>
        <pc:spChg chg="add mod">
          <ac:chgData name="Eldert Grootenboer" userId="3fe8758b2c2b58d2" providerId="LiveId" clId="{A299B12E-E556-4FD9-B950-379CF91CEAD0}" dt="2020-08-01T11:30:49.022" v="1525"/>
          <ac:spMkLst>
            <pc:docMk/>
            <pc:sldMk cId="715254139" sldId="2026"/>
            <ac:spMk id="38" creationId="{B9BBEFAB-191B-4EBC-8672-19FE2613DEF6}"/>
          </ac:spMkLst>
        </pc:spChg>
        <pc:spChg chg="add mod">
          <ac:chgData name="Eldert Grootenboer" userId="3fe8758b2c2b58d2" providerId="LiveId" clId="{A299B12E-E556-4FD9-B950-379CF91CEAD0}" dt="2020-08-01T11:30:49.022" v="1525"/>
          <ac:spMkLst>
            <pc:docMk/>
            <pc:sldMk cId="715254139" sldId="2026"/>
            <ac:spMk id="39" creationId="{07423D9E-3EAD-4312-9A99-7C5BE0844C23}"/>
          </ac:spMkLst>
        </pc:spChg>
        <pc:spChg chg="add mod">
          <ac:chgData name="Eldert Grootenboer" userId="3fe8758b2c2b58d2" providerId="LiveId" clId="{A299B12E-E556-4FD9-B950-379CF91CEAD0}" dt="2020-08-01T11:30:49.022" v="1525"/>
          <ac:spMkLst>
            <pc:docMk/>
            <pc:sldMk cId="715254139" sldId="2026"/>
            <ac:spMk id="40" creationId="{9202BA87-FFDC-4FC9-93E0-48235DF7B65E}"/>
          </ac:spMkLst>
        </pc:spChg>
        <pc:spChg chg="add mod">
          <ac:chgData name="Eldert Grootenboer" userId="3fe8758b2c2b58d2" providerId="LiveId" clId="{A299B12E-E556-4FD9-B950-379CF91CEAD0}" dt="2020-08-01T11:30:49.022" v="1525"/>
          <ac:spMkLst>
            <pc:docMk/>
            <pc:sldMk cId="715254139" sldId="2026"/>
            <ac:spMk id="41" creationId="{283F8623-36A9-4116-AD75-A280A6AE7881}"/>
          </ac:spMkLst>
        </pc:spChg>
        <pc:spChg chg="add mod">
          <ac:chgData name="Eldert Grootenboer" userId="3fe8758b2c2b58d2" providerId="LiveId" clId="{A299B12E-E556-4FD9-B950-379CF91CEAD0}" dt="2020-08-01T11:30:49.022" v="1525"/>
          <ac:spMkLst>
            <pc:docMk/>
            <pc:sldMk cId="715254139" sldId="2026"/>
            <ac:spMk id="42" creationId="{320340AB-72DA-4406-93C3-1F65991E97EE}"/>
          </ac:spMkLst>
        </pc:spChg>
        <pc:spChg chg="add mod">
          <ac:chgData name="Eldert Grootenboer" userId="3fe8758b2c2b58d2" providerId="LiveId" clId="{A299B12E-E556-4FD9-B950-379CF91CEAD0}" dt="2020-08-01T11:30:49.022" v="1525"/>
          <ac:spMkLst>
            <pc:docMk/>
            <pc:sldMk cId="715254139" sldId="2026"/>
            <ac:spMk id="43" creationId="{3F22F65D-BE23-4772-BD45-02093BAC6580}"/>
          </ac:spMkLst>
        </pc:spChg>
        <pc:spChg chg="add del mod ord">
          <ac:chgData name="Eldert Grootenboer" userId="3fe8758b2c2b58d2" providerId="LiveId" clId="{A299B12E-E556-4FD9-B950-379CF91CEAD0}" dt="2020-08-01T11:34:03.115" v="1546" actId="700"/>
          <ac:spMkLst>
            <pc:docMk/>
            <pc:sldMk cId="715254139" sldId="2026"/>
            <ac:spMk id="45" creationId="{093AC57A-4685-444C-AE56-31A127C38A98}"/>
          </ac:spMkLst>
        </pc:spChg>
        <pc:grpChg chg="add del mod ord">
          <ac:chgData name="Eldert Grootenboer" userId="3fe8758b2c2b58d2" providerId="LiveId" clId="{A299B12E-E556-4FD9-B950-379CF91CEAD0}" dt="2020-08-01T11:27:38.236" v="1495" actId="21"/>
          <ac:grpSpMkLst>
            <pc:docMk/>
            <pc:sldMk cId="715254139" sldId="2026"/>
            <ac:grpSpMk id="6" creationId="{E3E1E7E5-976A-6745-B2D3-38A5DAD23BE0}"/>
          </ac:grpSpMkLst>
        </pc:grpChg>
        <pc:grpChg chg="add del mod">
          <ac:chgData name="Eldert Grootenboer" userId="3fe8758b2c2b58d2" providerId="LiveId" clId="{A299B12E-E556-4FD9-B950-379CF91CEAD0}" dt="2020-08-01T11:27:50.733" v="1498"/>
          <ac:grpSpMkLst>
            <pc:docMk/>
            <pc:sldMk cId="715254139" sldId="2026"/>
            <ac:grpSpMk id="11" creationId="{4FA6E935-076B-46A7-B323-D6D00D1F6C62}"/>
          </ac:grpSpMkLst>
        </pc:grpChg>
        <pc:grpChg chg="add del mod">
          <ac:chgData name="Eldert Grootenboer" userId="3fe8758b2c2b58d2" providerId="LiveId" clId="{A299B12E-E556-4FD9-B950-379CF91CEAD0}" dt="2020-08-01T11:27:54.133" v="1500"/>
          <ac:grpSpMkLst>
            <pc:docMk/>
            <pc:sldMk cId="715254139" sldId="2026"/>
            <ac:grpSpMk id="14" creationId="{A82590C7-C21E-437E-85E8-DF768F7BCD97}"/>
          </ac:grpSpMkLst>
        </pc:grpChg>
        <pc:grpChg chg="add del mod">
          <ac:chgData name="Eldert Grootenboer" userId="3fe8758b2c2b58d2" providerId="LiveId" clId="{A299B12E-E556-4FD9-B950-379CF91CEAD0}" dt="2020-08-01T11:28:19.372" v="1505" actId="21"/>
          <ac:grpSpMkLst>
            <pc:docMk/>
            <pc:sldMk cId="715254139" sldId="2026"/>
            <ac:grpSpMk id="19" creationId="{D94EABD0-2C08-46FA-99E4-56DD4566936D}"/>
          </ac:grpSpMkLst>
        </pc:grpChg>
        <pc:picChg chg="add mod">
          <ac:chgData name="Eldert Grootenboer" userId="3fe8758b2c2b58d2" providerId="LiveId" clId="{A299B12E-E556-4FD9-B950-379CF91CEAD0}" dt="2020-08-08T09:31:28.329" v="2736" actId="1037"/>
          <ac:picMkLst>
            <pc:docMk/>
            <pc:sldMk cId="715254139" sldId="2026"/>
            <ac:picMk id="2" creationId="{2ABF966A-78F7-4FDD-B542-82735A988739}"/>
          </ac:picMkLst>
        </pc:picChg>
        <pc:picChg chg="add mod">
          <ac:chgData name="Eldert Grootenboer" userId="3fe8758b2c2b58d2" providerId="LiveId" clId="{A299B12E-E556-4FD9-B950-379CF91CEAD0}" dt="2020-08-01T11:18:22.195" v="1400"/>
          <ac:picMkLst>
            <pc:docMk/>
            <pc:sldMk cId="715254139" sldId="2026"/>
            <ac:picMk id="7" creationId="{FF8F24A8-CDB8-6D4F-9D3F-9B2958C1C807}"/>
          </ac:picMkLst>
        </pc:picChg>
        <pc:picChg chg="add mod">
          <ac:chgData name="Eldert Grootenboer" userId="3fe8758b2c2b58d2" providerId="LiveId" clId="{A299B12E-E556-4FD9-B950-379CF91CEAD0}" dt="2020-08-01T11:18:22.195" v="1400"/>
          <ac:picMkLst>
            <pc:docMk/>
            <pc:sldMk cId="715254139" sldId="2026"/>
            <ac:picMk id="8" creationId="{76A4F76D-A205-6441-AD2E-C86C77053523}"/>
          </ac:picMkLst>
        </pc:picChg>
        <pc:picChg chg="mod">
          <ac:chgData name="Eldert Grootenboer" userId="3fe8758b2c2b58d2" providerId="LiveId" clId="{A299B12E-E556-4FD9-B950-379CF91CEAD0}" dt="2020-08-01T11:27:47.344" v="1497"/>
          <ac:picMkLst>
            <pc:docMk/>
            <pc:sldMk cId="715254139" sldId="2026"/>
            <ac:picMk id="12" creationId="{D0186F0F-3F15-45FD-B4FE-862FD3FC27A2}"/>
          </ac:picMkLst>
        </pc:picChg>
        <pc:picChg chg="mod">
          <ac:chgData name="Eldert Grootenboer" userId="3fe8758b2c2b58d2" providerId="LiveId" clId="{A299B12E-E556-4FD9-B950-379CF91CEAD0}" dt="2020-08-01T11:27:47.344" v="1497"/>
          <ac:picMkLst>
            <pc:docMk/>
            <pc:sldMk cId="715254139" sldId="2026"/>
            <ac:picMk id="13" creationId="{FD311536-EA7E-40E1-B980-8FB665008CDF}"/>
          </ac:picMkLst>
        </pc:picChg>
        <pc:picChg chg="mod">
          <ac:chgData name="Eldert Grootenboer" userId="3fe8758b2c2b58d2" providerId="LiveId" clId="{A299B12E-E556-4FD9-B950-379CF91CEAD0}" dt="2020-08-01T11:27:52.816" v="1499"/>
          <ac:picMkLst>
            <pc:docMk/>
            <pc:sldMk cId="715254139" sldId="2026"/>
            <ac:picMk id="15" creationId="{F488F835-111C-4C04-B1DF-6CEAA219F65F}"/>
          </ac:picMkLst>
        </pc:picChg>
        <pc:picChg chg="mod">
          <ac:chgData name="Eldert Grootenboer" userId="3fe8758b2c2b58d2" providerId="LiveId" clId="{A299B12E-E556-4FD9-B950-379CF91CEAD0}" dt="2020-08-01T11:27:52.816" v="1499"/>
          <ac:picMkLst>
            <pc:docMk/>
            <pc:sldMk cId="715254139" sldId="2026"/>
            <ac:picMk id="16" creationId="{D5E02F5E-E5E6-47C9-ACA5-6A96537D4A94}"/>
          </ac:picMkLst>
        </pc:picChg>
        <pc:picChg chg="mod topLvl">
          <ac:chgData name="Eldert Grootenboer" userId="3fe8758b2c2b58d2" providerId="LiveId" clId="{A299B12E-E556-4FD9-B950-379CF91CEAD0}" dt="2020-08-01T11:28:07.023" v="1504" actId="21"/>
          <ac:picMkLst>
            <pc:docMk/>
            <pc:sldMk cId="715254139" sldId="2026"/>
            <ac:picMk id="20" creationId="{76CC446F-3E90-4CB5-8E26-025DE818CA4C}"/>
          </ac:picMkLst>
        </pc:picChg>
        <pc:picChg chg="add del mod topLvl">
          <ac:chgData name="Eldert Grootenboer" userId="3fe8758b2c2b58d2" providerId="LiveId" clId="{A299B12E-E556-4FD9-B950-379CF91CEAD0}" dt="2020-08-01T11:28:07.023" v="1504" actId="21"/>
          <ac:picMkLst>
            <pc:docMk/>
            <pc:sldMk cId="715254139" sldId="2026"/>
            <ac:picMk id="21" creationId="{097DFD60-3944-4D89-B09A-FCFAB39C8770}"/>
          </ac:picMkLst>
        </pc:picChg>
        <pc:picChg chg="add del">
          <ac:chgData name="Eldert Grootenboer" userId="3fe8758b2c2b58d2" providerId="LiveId" clId="{A299B12E-E556-4FD9-B950-379CF91CEAD0}" dt="2020-08-01T11:28:24.126" v="1507" actId="21"/>
          <ac:picMkLst>
            <pc:docMk/>
            <pc:sldMk cId="715254139" sldId="2026"/>
            <ac:picMk id="23" creationId="{A2799AA0-7321-49F6-8593-5629CCA9913D}"/>
          </ac:picMkLst>
        </pc:picChg>
        <pc:picChg chg="add del mod">
          <ac:chgData name="Eldert Grootenboer" userId="3fe8758b2c2b58d2" providerId="LiveId" clId="{A299B12E-E556-4FD9-B950-379CF91CEAD0}" dt="2020-08-01T11:28:29.215" v="1509" actId="22"/>
          <ac:picMkLst>
            <pc:docMk/>
            <pc:sldMk cId="715254139" sldId="2026"/>
            <ac:picMk id="25" creationId="{BB1E903B-F069-41B9-B676-3645E62470D1}"/>
          </ac:picMkLst>
        </pc:picChg>
        <pc:picChg chg="add del mod modCrop">
          <ac:chgData name="Eldert Grootenboer" userId="3fe8758b2c2b58d2" providerId="LiveId" clId="{A299B12E-E556-4FD9-B950-379CF91CEAD0}" dt="2020-08-01T11:28:35.101" v="1512" actId="22"/>
          <ac:picMkLst>
            <pc:docMk/>
            <pc:sldMk cId="715254139" sldId="2026"/>
            <ac:picMk id="29" creationId="{1BC9262C-C7FF-48F4-A95F-A300B02CBE58}"/>
          </ac:picMkLst>
        </pc:picChg>
        <pc:picChg chg="add del mod ord">
          <ac:chgData name="Eldert Grootenboer" userId="3fe8758b2c2b58d2" providerId="LiveId" clId="{A299B12E-E556-4FD9-B950-379CF91CEAD0}" dt="2020-08-01T11:33:54.701" v="1545" actId="21"/>
          <ac:picMkLst>
            <pc:docMk/>
            <pc:sldMk cId="715254139" sldId="2026"/>
            <ac:picMk id="31" creationId="{2E7D60C8-6DA2-4277-994E-32992FFF2D3F}"/>
          </ac:picMkLst>
        </pc:picChg>
        <pc:picChg chg="add del mod">
          <ac:chgData name="Eldert Grootenboer" userId="3fe8758b2c2b58d2" providerId="LiveId" clId="{A299B12E-E556-4FD9-B950-379CF91CEAD0}" dt="2020-08-08T09:31:03.681" v="2717" actId="478"/>
          <ac:picMkLst>
            <pc:docMk/>
            <pc:sldMk cId="715254139" sldId="2026"/>
            <ac:picMk id="46" creationId="{4903C544-97DC-4D40-95DD-5CB45FAC8A9A}"/>
          </ac:picMkLst>
        </pc:picChg>
        <pc:picChg chg="add del">
          <ac:chgData name="Eldert Grootenboer" userId="3fe8758b2c2b58d2" providerId="LiveId" clId="{A299B12E-E556-4FD9-B950-379CF91CEAD0}" dt="2020-08-08T09:29:59.450" v="2715"/>
          <ac:picMkLst>
            <pc:docMk/>
            <pc:sldMk cId="715254139" sldId="2026"/>
            <ac:picMk id="2050" creationId="{405605EE-8E61-4244-A173-A11396D7FDDE}"/>
          </ac:picMkLst>
        </pc:picChg>
      </pc:sldChg>
      <pc:sldChg chg="addSp delSp modSp new del mod modClrScheme chgLayout">
        <pc:chgData name="Eldert Grootenboer" userId="3fe8758b2c2b58d2" providerId="LiveId" clId="{A299B12E-E556-4FD9-B950-379CF91CEAD0}" dt="2020-08-01T11:24:12.834" v="1486" actId="47"/>
        <pc:sldMkLst>
          <pc:docMk/>
          <pc:sldMk cId="3180557041" sldId="2027"/>
        </pc:sldMkLst>
        <pc:spChg chg="del mod ord">
          <ac:chgData name="Eldert Grootenboer" userId="3fe8758b2c2b58d2" providerId="LiveId" clId="{A299B12E-E556-4FD9-B950-379CF91CEAD0}" dt="2020-08-01T11:18:14.533" v="1399" actId="700"/>
          <ac:spMkLst>
            <pc:docMk/>
            <pc:sldMk cId="3180557041" sldId="2027"/>
            <ac:spMk id="2" creationId="{CBEA9669-2E27-45B1-AA99-CC93A34C6E85}"/>
          </ac:spMkLst>
        </pc:spChg>
        <pc:spChg chg="del mod ord">
          <ac:chgData name="Eldert Grootenboer" userId="3fe8758b2c2b58d2" providerId="LiveId" clId="{A299B12E-E556-4FD9-B950-379CF91CEAD0}" dt="2020-08-01T11:18:14.533" v="1399" actId="700"/>
          <ac:spMkLst>
            <pc:docMk/>
            <pc:sldMk cId="3180557041" sldId="2027"/>
            <ac:spMk id="3" creationId="{12AAF528-F76A-4CAE-96CF-CFED2EC64EE8}"/>
          </ac:spMkLst>
        </pc:spChg>
        <pc:spChg chg="add mod ord">
          <ac:chgData name="Eldert Grootenboer" userId="3fe8758b2c2b58d2" providerId="LiveId" clId="{A299B12E-E556-4FD9-B950-379CF91CEAD0}" dt="2020-08-01T11:18:45.283" v="1424" actId="20577"/>
          <ac:spMkLst>
            <pc:docMk/>
            <pc:sldMk cId="3180557041" sldId="2027"/>
            <ac:spMk id="4" creationId="{906AE74B-B459-41B8-ADFA-3386BDF3221D}"/>
          </ac:spMkLst>
        </pc:spChg>
        <pc:spChg chg="add mod ord">
          <ac:chgData name="Eldert Grootenboer" userId="3fe8758b2c2b58d2" providerId="LiveId" clId="{A299B12E-E556-4FD9-B950-379CF91CEAD0}" dt="2020-08-01T11:22:50.690" v="1458" actId="6549"/>
          <ac:spMkLst>
            <pc:docMk/>
            <pc:sldMk cId="3180557041" sldId="2027"/>
            <ac:spMk id="5" creationId="{E1AE9E8A-E1DD-42A2-A940-6ED53CAFCBC4}"/>
          </ac:spMkLst>
        </pc:spChg>
      </pc:sldChg>
      <pc:sldChg chg="addSp delSp modSp new mod modTransition delAnim modAnim">
        <pc:chgData name="Eldert Grootenboer" userId="3fe8758b2c2b58d2" providerId="LiveId" clId="{A299B12E-E556-4FD9-B950-379CF91CEAD0}" dt="2020-08-12T09:10:25.985" v="3081"/>
        <pc:sldMkLst>
          <pc:docMk/>
          <pc:sldMk cId="3919401798" sldId="2028"/>
        </pc:sldMkLst>
        <pc:spChg chg="mod">
          <ac:chgData name="Eldert Grootenboer" userId="3fe8758b2c2b58d2" providerId="LiveId" clId="{A299B12E-E556-4FD9-B950-379CF91CEAD0}" dt="2020-08-01T11:23:52.179" v="1483" actId="20577"/>
          <ac:spMkLst>
            <pc:docMk/>
            <pc:sldMk cId="3919401798" sldId="2028"/>
            <ac:spMk id="2" creationId="{1DD1ACA5-C2AE-4391-9722-57FF01465FE6}"/>
          </ac:spMkLst>
        </pc:spChg>
        <pc:spChg chg="del">
          <ac:chgData name="Eldert Grootenboer" userId="3fe8758b2c2b58d2" providerId="LiveId" clId="{A299B12E-E556-4FD9-B950-379CF91CEAD0}" dt="2020-08-01T11:23:37.471" v="1460"/>
          <ac:spMkLst>
            <pc:docMk/>
            <pc:sldMk cId="3919401798" sldId="2028"/>
            <ac:spMk id="3" creationId="{6AC209C8-1B8E-41C7-A137-48403D609257}"/>
          </ac:spMkLst>
        </pc:spChg>
        <pc:spChg chg="del mod topLvl">
          <ac:chgData name="Eldert Grootenboer" userId="3fe8758b2c2b58d2" providerId="LiveId" clId="{A299B12E-E556-4FD9-B950-379CF91CEAD0}" dt="2020-08-08T09:27:33.557" v="2614" actId="478"/>
          <ac:spMkLst>
            <pc:docMk/>
            <pc:sldMk cId="3919401798" sldId="2028"/>
            <ac:spMk id="6" creationId="{DAC48F51-8C41-420E-A060-4D9ADC7489DD}"/>
          </ac:spMkLst>
        </pc:spChg>
        <pc:spChg chg="del mod topLvl">
          <ac:chgData name="Eldert Grootenboer" userId="3fe8758b2c2b58d2" providerId="LiveId" clId="{A299B12E-E556-4FD9-B950-379CF91CEAD0}" dt="2020-08-08T09:27:33.557" v="2614" actId="478"/>
          <ac:spMkLst>
            <pc:docMk/>
            <pc:sldMk cId="3919401798" sldId="2028"/>
            <ac:spMk id="7" creationId="{D9D46044-6101-4748-8EE7-3E066B859691}"/>
          </ac:spMkLst>
        </pc:spChg>
        <pc:spChg chg="mod topLvl">
          <ac:chgData name="Eldert Grootenboer" userId="3fe8758b2c2b58d2" providerId="LiveId" clId="{A299B12E-E556-4FD9-B950-379CF91CEAD0}" dt="2020-08-01T11:34:40.135" v="1551" actId="165"/>
          <ac:spMkLst>
            <pc:docMk/>
            <pc:sldMk cId="3919401798" sldId="2028"/>
            <ac:spMk id="8" creationId="{56CB8E0C-1DE8-443C-83AE-BC49DCD79FC1}"/>
          </ac:spMkLst>
        </pc:spChg>
        <pc:spChg chg="mod topLvl">
          <ac:chgData name="Eldert Grootenboer" userId="3fe8758b2c2b58d2" providerId="LiveId" clId="{A299B12E-E556-4FD9-B950-379CF91CEAD0}" dt="2020-08-01T11:34:40.135" v="1551" actId="165"/>
          <ac:spMkLst>
            <pc:docMk/>
            <pc:sldMk cId="3919401798" sldId="2028"/>
            <ac:spMk id="9" creationId="{A93517CC-FD32-47CC-8B0C-B29C505DBE64}"/>
          </ac:spMkLst>
        </pc:spChg>
        <pc:spChg chg="mod ord topLvl">
          <ac:chgData name="Eldert Grootenboer" userId="3fe8758b2c2b58d2" providerId="LiveId" clId="{A299B12E-E556-4FD9-B950-379CF91CEAD0}" dt="2020-08-08T09:27:29.995" v="2613" actId="167"/>
          <ac:spMkLst>
            <pc:docMk/>
            <pc:sldMk cId="3919401798" sldId="2028"/>
            <ac:spMk id="10" creationId="{03A21E8F-46A4-47AB-8B68-C34E13FD5AB0}"/>
          </ac:spMkLst>
        </pc:spChg>
        <pc:spChg chg="mod ord topLvl">
          <ac:chgData name="Eldert Grootenboer" userId="3fe8758b2c2b58d2" providerId="LiveId" clId="{A299B12E-E556-4FD9-B950-379CF91CEAD0}" dt="2020-08-08T09:27:29.995" v="2613" actId="167"/>
          <ac:spMkLst>
            <pc:docMk/>
            <pc:sldMk cId="3919401798" sldId="2028"/>
            <ac:spMk id="11" creationId="{6E984502-7E00-44B0-8949-143B292DD057}"/>
          </ac:spMkLst>
        </pc:spChg>
        <pc:spChg chg="add mod ord">
          <ac:chgData name="Eldert Grootenboer" userId="3fe8758b2c2b58d2" providerId="LiveId" clId="{A299B12E-E556-4FD9-B950-379CF91CEAD0}" dt="2020-08-08T09:27:16.822" v="2611" actId="167"/>
          <ac:spMkLst>
            <pc:docMk/>
            <pc:sldMk cId="3919401798" sldId="2028"/>
            <ac:spMk id="12" creationId="{2D4E67BA-1CED-41D1-96EB-CDCF8E237570}"/>
          </ac:spMkLst>
        </pc:spChg>
        <pc:spChg chg="add mod ord">
          <ac:chgData name="Eldert Grootenboer" userId="3fe8758b2c2b58d2" providerId="LiveId" clId="{A299B12E-E556-4FD9-B950-379CF91CEAD0}" dt="2020-08-08T09:27:16.822" v="2611" actId="167"/>
          <ac:spMkLst>
            <pc:docMk/>
            <pc:sldMk cId="3919401798" sldId="2028"/>
            <ac:spMk id="13" creationId="{0797293A-3B87-454F-A96C-8B976A7916B4}"/>
          </ac:spMkLst>
        </pc:spChg>
        <pc:grpChg chg="del mod">
          <ac:chgData name="Eldert Grootenboer" userId="3fe8758b2c2b58d2" providerId="LiveId" clId="{A299B12E-E556-4FD9-B950-379CF91CEAD0}" dt="2020-08-01T11:34:40.135" v="1551" actId="165"/>
          <ac:grpSpMkLst>
            <pc:docMk/>
            <pc:sldMk cId="3919401798" sldId="2028"/>
            <ac:grpSpMk id="5" creationId="{9B619A75-9185-4B88-9EEF-242A42670225}"/>
          </ac:grpSpMkLst>
        </pc:grpChg>
        <pc:graphicFrameChg chg="add del mod">
          <ac:chgData name="Eldert Grootenboer" userId="3fe8758b2c2b58d2" providerId="LiveId" clId="{A299B12E-E556-4FD9-B950-379CF91CEAD0}" dt="2020-08-01T11:34:36.473" v="1550" actId="18245"/>
          <ac:graphicFrameMkLst>
            <pc:docMk/>
            <pc:sldMk cId="3919401798" sldId="2028"/>
            <ac:graphicFrameMk id="4" creationId="{CD943B8D-E587-4D90-8F00-4EA784BC9824}"/>
          </ac:graphicFrameMkLst>
        </pc:graphicFrameChg>
      </pc:sldChg>
      <pc:sldChg chg="addSp delSp modSp new mod ord modTransition setBg modClrScheme setClrOvrMap chgLayout">
        <pc:chgData name="Eldert Grootenboer" userId="3fe8758b2c2b58d2" providerId="LiveId" clId="{A299B12E-E556-4FD9-B950-379CF91CEAD0}" dt="2020-08-01T13:12:42.307" v="2524"/>
        <pc:sldMkLst>
          <pc:docMk/>
          <pc:sldMk cId="1740525124" sldId="2029"/>
        </pc:sldMkLst>
        <pc:spChg chg="del mod ord">
          <ac:chgData name="Eldert Grootenboer" userId="3fe8758b2c2b58d2" providerId="LiveId" clId="{A299B12E-E556-4FD9-B950-379CF91CEAD0}" dt="2020-08-01T11:36:53.476" v="1574" actId="700"/>
          <ac:spMkLst>
            <pc:docMk/>
            <pc:sldMk cId="1740525124" sldId="2029"/>
            <ac:spMk id="2" creationId="{F30C6956-CEC9-408E-8663-EBB62448F968}"/>
          </ac:spMkLst>
        </pc:spChg>
        <pc:spChg chg="del mod ord">
          <ac:chgData name="Eldert Grootenboer" userId="3fe8758b2c2b58d2" providerId="LiveId" clId="{A299B12E-E556-4FD9-B950-379CF91CEAD0}" dt="2020-08-01T11:36:53.476" v="1574" actId="700"/>
          <ac:spMkLst>
            <pc:docMk/>
            <pc:sldMk cId="1740525124" sldId="2029"/>
            <ac:spMk id="3" creationId="{FC1CDF75-30F4-4011-A0ED-FDE0C00689D3}"/>
          </ac:spMkLst>
        </pc:spChg>
        <pc:spChg chg="add mod ord">
          <ac:chgData name="Eldert Grootenboer" userId="3fe8758b2c2b58d2" providerId="LiveId" clId="{A299B12E-E556-4FD9-B950-379CF91CEAD0}" dt="2020-08-01T12:41:26.194" v="2218" actId="26606"/>
          <ac:spMkLst>
            <pc:docMk/>
            <pc:sldMk cId="1740525124" sldId="2029"/>
            <ac:spMk id="4" creationId="{F6BBF584-2D4E-4A9C-B63A-CB21BC6B9D20}"/>
          </ac:spMkLst>
        </pc:spChg>
        <pc:spChg chg="add del mod ord">
          <ac:chgData name="Eldert Grootenboer" userId="3fe8758b2c2b58d2" providerId="LiveId" clId="{A299B12E-E556-4FD9-B950-379CF91CEAD0}" dt="2020-08-01T11:40:52.990" v="1589" actId="700"/>
          <ac:spMkLst>
            <pc:docMk/>
            <pc:sldMk cId="1740525124" sldId="2029"/>
            <ac:spMk id="5" creationId="{41E55866-246B-4B21-8F4E-39F05B289BED}"/>
          </ac:spMkLst>
        </pc:spChg>
        <pc:spChg chg="add del mod ord">
          <ac:chgData name="Eldert Grootenboer" userId="3fe8758b2c2b58d2" providerId="LiveId" clId="{A299B12E-E556-4FD9-B950-379CF91CEAD0}" dt="2020-08-01T11:43:19.522" v="1606" actId="700"/>
          <ac:spMkLst>
            <pc:docMk/>
            <pc:sldMk cId="1740525124" sldId="2029"/>
            <ac:spMk id="6" creationId="{5CCA5C91-2423-4CAF-8527-653BE2C98C27}"/>
          </ac:spMkLst>
        </pc:spChg>
        <pc:spChg chg="add del">
          <ac:chgData name="Eldert Grootenboer" userId="3fe8758b2c2b58d2" providerId="LiveId" clId="{A299B12E-E556-4FD9-B950-379CF91CEAD0}" dt="2020-08-01T12:41:23.226" v="2215" actId="26606"/>
          <ac:spMkLst>
            <pc:docMk/>
            <pc:sldMk cId="1740525124" sldId="2029"/>
            <ac:spMk id="10" creationId="{71B2258F-86CA-4D4D-8270-BC05FCDEBFB3}"/>
          </ac:spMkLst>
        </pc:spChg>
        <pc:spChg chg="add del">
          <ac:chgData name="Eldert Grootenboer" userId="3fe8758b2c2b58d2" providerId="LiveId" clId="{A299B12E-E556-4FD9-B950-379CF91CEAD0}" dt="2020-08-01T11:41:29.563" v="1598" actId="26606"/>
          <ac:spMkLst>
            <pc:docMk/>
            <pc:sldMk cId="1740525124" sldId="2029"/>
            <ac:spMk id="12" creationId="{71B2258F-86CA-4D4D-8270-BC05FCDEBFB3}"/>
          </ac:spMkLst>
        </pc:spChg>
        <pc:spChg chg="add del">
          <ac:chgData name="Eldert Grootenboer" userId="3fe8758b2c2b58d2" providerId="LiveId" clId="{A299B12E-E556-4FD9-B950-379CF91CEAD0}" dt="2020-08-01T12:41:07.068" v="2211" actId="26606"/>
          <ac:spMkLst>
            <pc:docMk/>
            <pc:sldMk cId="1740525124" sldId="2029"/>
            <ac:spMk id="13" creationId="{71B2258F-86CA-4D4D-8270-BC05FCDEBFB3}"/>
          </ac:spMkLst>
        </pc:spChg>
        <pc:spChg chg="add del">
          <ac:chgData name="Eldert Grootenboer" userId="3fe8758b2c2b58d2" providerId="LiveId" clId="{A299B12E-E556-4FD9-B950-379CF91CEAD0}" dt="2020-08-01T12:41:26.178" v="2217" actId="26606"/>
          <ac:spMkLst>
            <pc:docMk/>
            <pc:sldMk cId="1740525124" sldId="2029"/>
            <ac:spMk id="14" creationId="{71B2258F-86CA-4D4D-8270-BC05FCDEBFB3}"/>
          </ac:spMkLst>
        </pc:spChg>
        <pc:spChg chg="add">
          <ac:chgData name="Eldert Grootenboer" userId="3fe8758b2c2b58d2" providerId="LiveId" clId="{A299B12E-E556-4FD9-B950-379CF91CEAD0}" dt="2020-08-01T12:41:26.194" v="2218" actId="26606"/>
          <ac:spMkLst>
            <pc:docMk/>
            <pc:sldMk cId="1740525124" sldId="2029"/>
            <ac:spMk id="16" creationId="{71B2258F-86CA-4D4D-8270-BC05FCDEBFB3}"/>
          </ac:spMkLst>
        </pc:spChg>
        <pc:spChg chg="add del">
          <ac:chgData name="Eldert Grootenboer" userId="3fe8758b2c2b58d2" providerId="LiveId" clId="{A299B12E-E556-4FD9-B950-379CF91CEAD0}" dt="2020-08-01T11:40:47.591" v="1587" actId="26606"/>
          <ac:spMkLst>
            <pc:docMk/>
            <pc:sldMk cId="1740525124" sldId="2029"/>
            <ac:spMk id="71" creationId="{37C89E4B-3C9F-44B9-8B86-D9E3D112D8EC}"/>
          </ac:spMkLst>
        </pc:spChg>
        <pc:spChg chg="add del">
          <ac:chgData name="Eldert Grootenboer" userId="3fe8758b2c2b58d2" providerId="LiveId" clId="{A299B12E-E556-4FD9-B950-379CF91CEAD0}" dt="2020-08-01T12:40:27.419" v="2198" actId="26606"/>
          <ac:spMkLst>
            <pc:docMk/>
            <pc:sldMk cId="1740525124" sldId="2029"/>
            <ac:spMk id="77" creationId="{F05C5575-0F07-43D0-AE78-81EAA8E67152}"/>
          </ac:spMkLst>
        </pc:spChg>
        <pc:spChg chg="add del">
          <ac:chgData name="Eldert Grootenboer" userId="3fe8758b2c2b58d2" providerId="LiveId" clId="{A299B12E-E556-4FD9-B950-379CF91CEAD0}" dt="2020-08-01T12:37:57.313" v="2184" actId="26606"/>
          <ac:spMkLst>
            <pc:docMk/>
            <pc:sldMk cId="1740525124" sldId="2029"/>
            <ac:spMk id="7176" creationId="{C475749F-F487-4EFB-ABC7-C1359590EB76}"/>
          </ac:spMkLst>
        </pc:spChg>
        <pc:spChg chg="add del">
          <ac:chgData name="Eldert Grootenboer" userId="3fe8758b2c2b58d2" providerId="LiveId" clId="{A299B12E-E556-4FD9-B950-379CF91CEAD0}" dt="2020-08-01T12:40:27.419" v="2198" actId="26606"/>
          <ac:spMkLst>
            <pc:docMk/>
            <pc:sldMk cId="1740525124" sldId="2029"/>
            <ac:spMk id="7177" creationId="{E26B9EF5-5D92-4AC7-BC55-FC5C4C98ED4C}"/>
          </ac:spMkLst>
        </pc:spChg>
        <pc:picChg chg="add del mod">
          <ac:chgData name="Eldert Grootenboer" userId="3fe8758b2c2b58d2" providerId="LiveId" clId="{A299B12E-E556-4FD9-B950-379CF91CEAD0}" dt="2020-08-01T11:41:30.830" v="1599" actId="22"/>
          <ac:picMkLst>
            <pc:docMk/>
            <pc:sldMk cId="1740525124" sldId="2029"/>
            <ac:picMk id="7" creationId="{521DD3F7-B929-4395-BE2E-655E2A62BFA3}"/>
          </ac:picMkLst>
        </pc:picChg>
        <pc:picChg chg="add mod">
          <ac:chgData name="Eldert Grootenboer" userId="3fe8758b2c2b58d2" providerId="LiveId" clId="{A299B12E-E556-4FD9-B950-379CF91CEAD0}" dt="2020-08-01T12:41:26.194" v="2218" actId="26606"/>
          <ac:picMkLst>
            <pc:docMk/>
            <pc:sldMk cId="1740525124" sldId="2029"/>
            <ac:picMk id="8" creationId="{2AA07663-0FA6-4187-9912-7057241D2A4E}"/>
          </ac:picMkLst>
        </pc:picChg>
        <pc:picChg chg="add del mod">
          <ac:chgData name="Eldert Grootenboer" userId="3fe8758b2c2b58d2" providerId="LiveId" clId="{A299B12E-E556-4FD9-B950-379CF91CEAD0}" dt="2020-08-01T12:40:41.087" v="2203" actId="21"/>
          <ac:picMkLst>
            <pc:docMk/>
            <pc:sldMk cId="1740525124" sldId="2029"/>
            <ac:picMk id="9" creationId="{C3D19563-ABD0-492D-8215-56D974973601}"/>
          </ac:picMkLst>
        </pc:picChg>
        <pc:picChg chg="add mod">
          <ac:chgData name="Eldert Grootenboer" userId="3fe8758b2c2b58d2" providerId="LiveId" clId="{A299B12E-E556-4FD9-B950-379CF91CEAD0}" dt="2020-08-01T12:35:27.495" v="2162"/>
          <ac:picMkLst>
            <pc:docMk/>
            <pc:sldMk cId="1740525124" sldId="2029"/>
            <ac:picMk id="17" creationId="{488939BF-6C3A-408E-90A4-46BB533450BA}"/>
          </ac:picMkLst>
        </pc:picChg>
        <pc:picChg chg="add del mod ord">
          <ac:chgData name="Eldert Grootenboer" userId="3fe8758b2c2b58d2" providerId="LiveId" clId="{A299B12E-E556-4FD9-B950-379CF91CEAD0}" dt="2020-08-01T12:38:36.333" v="2192" actId="21"/>
          <ac:picMkLst>
            <pc:docMk/>
            <pc:sldMk cId="1740525124" sldId="2029"/>
            <ac:picMk id="18" creationId="{37F40E2E-2A44-4F86-8EBE-5F1E511F8C43}"/>
          </ac:picMkLst>
        </pc:picChg>
        <pc:picChg chg="add del mod">
          <ac:chgData name="Eldert Grootenboer" userId="3fe8758b2c2b58d2" providerId="LiveId" clId="{A299B12E-E556-4FD9-B950-379CF91CEAD0}" dt="2020-08-01T11:40:48.538" v="1588"/>
          <ac:picMkLst>
            <pc:docMk/>
            <pc:sldMk cId="1740525124" sldId="2029"/>
            <ac:picMk id="7170" creationId="{B09863C5-9795-42E1-9A7E-426D28AC6D95}"/>
          </ac:picMkLst>
        </pc:picChg>
        <pc:picChg chg="add del">
          <ac:chgData name="Eldert Grootenboer" userId="3fe8758b2c2b58d2" providerId="LiveId" clId="{A299B12E-E556-4FD9-B950-379CF91CEAD0}" dt="2020-08-01T11:41:01.852" v="1592" actId="21"/>
          <ac:picMkLst>
            <pc:docMk/>
            <pc:sldMk cId="1740525124" sldId="2029"/>
            <ac:picMk id="7172" creationId="{74DAD6A6-C168-4FB9-A66F-A47804CBC6DD}"/>
          </ac:picMkLst>
        </pc:picChg>
        <pc:picChg chg="add del mod">
          <ac:chgData name="Eldert Grootenboer" userId="3fe8758b2c2b58d2" providerId="LiveId" clId="{A299B12E-E556-4FD9-B950-379CF91CEAD0}" dt="2020-08-01T12:40:47.209" v="2205" actId="21"/>
          <ac:picMkLst>
            <pc:docMk/>
            <pc:sldMk cId="1740525124" sldId="2029"/>
            <ac:picMk id="7174" creationId="{50444BDD-CC1D-486D-A885-895CE79CEF77}"/>
          </ac:picMkLst>
        </pc:picChg>
        <pc:cxnChg chg="add del">
          <ac:chgData name="Eldert Grootenboer" userId="3fe8758b2c2b58d2" providerId="LiveId" clId="{A299B12E-E556-4FD9-B950-379CF91CEAD0}" dt="2020-08-01T11:40:47.591" v="1587" actId="26606"/>
          <ac:cxnSpMkLst>
            <pc:docMk/>
            <pc:sldMk cId="1740525124" sldId="2029"/>
            <ac:cxnSpMk id="73" creationId="{AA2EAA10-076F-46BD-8F0F-B9A2FB77A85C}"/>
          </ac:cxnSpMkLst>
        </pc:cxnChg>
        <pc:cxnChg chg="add del">
          <ac:chgData name="Eldert Grootenboer" userId="3fe8758b2c2b58d2" providerId="LiveId" clId="{A299B12E-E556-4FD9-B950-379CF91CEAD0}" dt="2020-08-01T11:40:47.591" v="1587" actId="26606"/>
          <ac:cxnSpMkLst>
            <pc:docMk/>
            <pc:sldMk cId="1740525124" sldId="2029"/>
            <ac:cxnSpMk id="75" creationId="{D891E407-403B-4764-86C9-33A56D3BCAA3}"/>
          </ac:cxnSpMkLst>
        </pc:cxnChg>
      </pc:sldChg>
      <pc:sldChg chg="addSp delSp modSp new add del mod modTransition setBg modClrScheme setClrOvrMap delDesignElem chgLayout modNotesTx">
        <pc:chgData name="Eldert Grootenboer" userId="3fe8758b2c2b58d2" providerId="LiveId" clId="{A299B12E-E556-4FD9-B950-379CF91CEAD0}" dt="2020-08-01T13:12:30.303" v="2523" actId="47"/>
        <pc:sldMkLst>
          <pc:docMk/>
          <pc:sldMk cId="2943528542" sldId="2030"/>
        </pc:sldMkLst>
        <pc:spChg chg="del mod ord">
          <ac:chgData name="Eldert Grootenboer" userId="3fe8758b2c2b58d2" providerId="LiveId" clId="{A299B12E-E556-4FD9-B950-379CF91CEAD0}" dt="2020-08-01T11:44:46.687" v="1610" actId="700"/>
          <ac:spMkLst>
            <pc:docMk/>
            <pc:sldMk cId="2943528542" sldId="2030"/>
            <ac:spMk id="2" creationId="{39BF03A5-7A7E-45F4-A769-2C741C906E99}"/>
          </ac:spMkLst>
        </pc:spChg>
        <pc:spChg chg="add mod ord">
          <ac:chgData name="Eldert Grootenboer" userId="3fe8758b2c2b58d2" providerId="LiveId" clId="{A299B12E-E556-4FD9-B950-379CF91CEAD0}" dt="2020-08-01T13:00:16.080" v="2337" actId="108"/>
          <ac:spMkLst>
            <pc:docMk/>
            <pc:sldMk cId="2943528542" sldId="2030"/>
            <ac:spMk id="3" creationId="{18EBC42E-43D5-47DB-9031-F070D7C83388}"/>
          </ac:spMkLst>
        </pc:spChg>
        <pc:spChg chg="add del mod ord">
          <ac:chgData name="Eldert Grootenboer" userId="3fe8758b2c2b58d2" providerId="LiveId" clId="{A299B12E-E556-4FD9-B950-379CF91CEAD0}" dt="2020-08-01T11:49:05.031" v="1688"/>
          <ac:spMkLst>
            <pc:docMk/>
            <pc:sldMk cId="2943528542" sldId="2030"/>
            <ac:spMk id="4" creationId="{8E01B9A0-C5CF-40A7-91BD-DD4596B0D216}"/>
          </ac:spMkLst>
        </pc:spChg>
        <pc:spChg chg="add del">
          <ac:chgData name="Eldert Grootenboer" userId="3fe8758b2c2b58d2" providerId="LiveId" clId="{A299B12E-E556-4FD9-B950-379CF91CEAD0}" dt="2020-08-01T12:55:49.829" v="2285" actId="700"/>
          <ac:spMkLst>
            <pc:docMk/>
            <pc:sldMk cId="2943528542" sldId="2030"/>
            <ac:spMk id="12" creationId="{357DD0D3-F869-46D0-944C-6EC60E19E351}"/>
          </ac:spMkLst>
        </pc:spChg>
        <pc:graphicFrameChg chg="add del mod">
          <ac:chgData name="Eldert Grootenboer" userId="3fe8758b2c2b58d2" providerId="LiveId" clId="{A299B12E-E556-4FD9-B950-379CF91CEAD0}" dt="2020-08-01T11:48:58.310" v="1685"/>
          <ac:graphicFrameMkLst>
            <pc:docMk/>
            <pc:sldMk cId="2943528542" sldId="2030"/>
            <ac:graphicFrameMk id="5" creationId="{43097BD6-4A2F-450F-A001-8C95F5D121DD}"/>
          </ac:graphicFrameMkLst>
        </pc:graphicFrameChg>
        <pc:graphicFrameChg chg="add mod ord modGraphic">
          <ac:chgData name="Eldert Grootenboer" userId="3fe8758b2c2b58d2" providerId="LiveId" clId="{A299B12E-E556-4FD9-B950-379CF91CEAD0}" dt="2020-08-01T12:55:49.829" v="2285" actId="700"/>
          <ac:graphicFrameMkLst>
            <pc:docMk/>
            <pc:sldMk cId="2943528542" sldId="2030"/>
            <ac:graphicFrameMk id="6" creationId="{EF49D9CB-6AC5-4217-889E-B9D1B2E8C829}"/>
          </ac:graphicFrameMkLst>
        </pc:graphicFrameChg>
        <pc:picChg chg="add del mod">
          <ac:chgData name="Eldert Grootenboer" userId="3fe8758b2c2b58d2" providerId="LiveId" clId="{A299B12E-E556-4FD9-B950-379CF91CEAD0}" dt="2020-08-01T13:01:47.701" v="2386" actId="478"/>
          <ac:picMkLst>
            <pc:docMk/>
            <pc:sldMk cId="2943528542" sldId="2030"/>
            <ac:picMk id="7" creationId="{52696056-FD8E-4335-A822-E9967718F34C}"/>
          </ac:picMkLst>
        </pc:picChg>
        <pc:picChg chg="add del">
          <ac:chgData name="Eldert Grootenboer" userId="3fe8758b2c2b58d2" providerId="LiveId" clId="{A299B12E-E556-4FD9-B950-379CF91CEAD0}" dt="2020-08-01T13:00:32.555" v="2340"/>
          <ac:picMkLst>
            <pc:docMk/>
            <pc:sldMk cId="2943528542" sldId="2030"/>
            <ac:picMk id="8" creationId="{9B72B5C8-90C4-4176-83E7-CE69F22A6797}"/>
          </ac:picMkLst>
        </pc:picChg>
        <pc:picChg chg="add">
          <ac:chgData name="Eldert Grootenboer" userId="3fe8758b2c2b58d2" providerId="LiveId" clId="{A299B12E-E556-4FD9-B950-379CF91CEAD0}" dt="2020-08-01T13:01:48.135" v="2387" actId="22"/>
          <ac:picMkLst>
            <pc:docMk/>
            <pc:sldMk cId="2943528542" sldId="2030"/>
            <ac:picMk id="9" creationId="{0092F4A3-2829-4A6A-9DD5-BEB7C8BE4AC6}"/>
          </ac:picMkLst>
        </pc:picChg>
      </pc:sldChg>
      <pc:sldChg chg="addSp delSp modSp new del mod modTransition setBg setClrOvrMap modNotesTx">
        <pc:chgData name="Eldert Grootenboer" userId="3fe8758b2c2b58d2" providerId="LiveId" clId="{A299B12E-E556-4FD9-B950-379CF91CEAD0}" dt="2020-08-01T13:08:16.191" v="2476" actId="47"/>
        <pc:sldMkLst>
          <pc:docMk/>
          <pc:sldMk cId="3593175702" sldId="2031"/>
        </pc:sldMkLst>
        <pc:spChg chg="mod">
          <ac:chgData name="Eldert Grootenboer" userId="3fe8758b2c2b58d2" providerId="LiveId" clId="{A299B12E-E556-4FD9-B950-379CF91CEAD0}" dt="2020-08-01T13:05:56.502" v="2422" actId="26606"/>
          <ac:spMkLst>
            <pc:docMk/>
            <pc:sldMk cId="3593175702" sldId="2031"/>
            <ac:spMk id="2" creationId="{A47D688D-B0DF-4AC2-9181-C378EF4058C4}"/>
          </ac:spMkLst>
        </pc:spChg>
        <pc:spChg chg="del mod">
          <ac:chgData name="Eldert Grootenboer" userId="3fe8758b2c2b58d2" providerId="LiveId" clId="{A299B12E-E556-4FD9-B950-379CF91CEAD0}" dt="2020-08-01T12:16:04.080" v="1839"/>
          <ac:spMkLst>
            <pc:docMk/>
            <pc:sldMk cId="3593175702" sldId="2031"/>
            <ac:spMk id="3" creationId="{501F5FE9-F8ED-47AF-A7B5-DA8338EE8D1D}"/>
          </ac:spMkLst>
        </pc:spChg>
        <pc:spChg chg="add del">
          <ac:chgData name="Eldert Grootenboer" userId="3fe8758b2c2b58d2" providerId="LiveId" clId="{A299B12E-E556-4FD9-B950-379CF91CEAD0}" dt="2020-08-01T11:52:56.905" v="1732" actId="26606"/>
          <ac:spMkLst>
            <pc:docMk/>
            <pc:sldMk cId="3593175702" sldId="2031"/>
            <ac:spMk id="10" creationId="{AFA67CD3-AB4E-4A7A-BEB8-53C445D8C44E}"/>
          </ac:spMkLst>
        </pc:spChg>
        <pc:spChg chg="add del">
          <ac:chgData name="Eldert Grootenboer" userId="3fe8758b2c2b58d2" providerId="LiveId" clId="{A299B12E-E556-4FD9-B950-379CF91CEAD0}" dt="2020-08-01T13:05:56.502" v="2422" actId="26606"/>
          <ac:spMkLst>
            <pc:docMk/>
            <pc:sldMk cId="3593175702" sldId="2031"/>
            <ac:spMk id="13" creationId="{357DD0D3-F869-46D0-944C-6EC60E19E351}"/>
          </ac:spMkLst>
        </pc:spChg>
        <pc:spChg chg="add del">
          <ac:chgData name="Eldert Grootenboer" userId="3fe8758b2c2b58d2" providerId="LiveId" clId="{A299B12E-E556-4FD9-B950-379CF91CEAD0}" dt="2020-08-01T11:52:56.905" v="1732" actId="26606"/>
          <ac:spMkLst>
            <pc:docMk/>
            <pc:sldMk cId="3593175702" sldId="2031"/>
            <ac:spMk id="14" creationId="{339C8D78-A644-462F-B674-F440635E5353}"/>
          </ac:spMkLst>
        </pc:spChg>
        <pc:graphicFrameChg chg="add mod ord modGraphic">
          <ac:chgData name="Eldert Grootenboer" userId="3fe8758b2c2b58d2" providerId="LiveId" clId="{A299B12E-E556-4FD9-B950-379CF91CEAD0}" dt="2020-08-01T13:05:56.502" v="2422" actId="26606"/>
          <ac:graphicFrameMkLst>
            <pc:docMk/>
            <pc:sldMk cId="3593175702" sldId="2031"/>
            <ac:graphicFrameMk id="8" creationId="{FF62117F-45F3-474C-8664-68F915AA8CA4}"/>
          </ac:graphicFrameMkLst>
        </pc:graphicFrameChg>
        <pc:picChg chg="add del mod">
          <ac:chgData name="Eldert Grootenboer" userId="3fe8758b2c2b58d2" providerId="LiveId" clId="{A299B12E-E556-4FD9-B950-379CF91CEAD0}" dt="2020-08-01T13:07:38.248" v="2472" actId="478"/>
          <ac:picMkLst>
            <pc:docMk/>
            <pc:sldMk cId="3593175702" sldId="2031"/>
            <ac:picMk id="4" creationId="{7555BD07-44BB-486B-BD2B-FDC9C64244E8}"/>
          </ac:picMkLst>
        </pc:picChg>
        <pc:picChg chg="add del">
          <ac:chgData name="Eldert Grootenboer" userId="3fe8758b2c2b58d2" providerId="LiveId" clId="{A299B12E-E556-4FD9-B950-379CF91CEAD0}" dt="2020-08-01T11:52:56.905" v="1732" actId="26606"/>
          <ac:picMkLst>
            <pc:docMk/>
            <pc:sldMk cId="3593175702" sldId="2031"/>
            <ac:picMk id="7" creationId="{15612EF2-062C-40F1-A612-DAD5C8199E15}"/>
          </ac:picMkLst>
        </pc:picChg>
        <pc:picChg chg="add del">
          <ac:chgData name="Eldert Grootenboer" userId="3fe8758b2c2b58d2" providerId="LiveId" clId="{A299B12E-E556-4FD9-B950-379CF91CEAD0}" dt="2020-08-01T11:52:56.905" v="1732" actId="26606"/>
          <ac:picMkLst>
            <pc:docMk/>
            <pc:sldMk cId="3593175702" sldId="2031"/>
            <ac:picMk id="12" creationId="{07CF545F-9C2E-4446-97CD-AD92990C2B68}"/>
          </ac:picMkLst>
        </pc:picChg>
      </pc:sldChg>
      <pc:sldChg chg="addSp delSp modSp new del mod modTransition">
        <pc:chgData name="Eldert Grootenboer" userId="3fe8758b2c2b58d2" providerId="LiveId" clId="{A299B12E-E556-4FD9-B950-379CF91CEAD0}" dt="2020-08-01T13:10:56.219" v="2511" actId="47"/>
        <pc:sldMkLst>
          <pc:docMk/>
          <pc:sldMk cId="989029768" sldId="2032"/>
        </pc:sldMkLst>
        <pc:spChg chg="mod">
          <ac:chgData name="Eldert Grootenboer" userId="3fe8758b2c2b58d2" providerId="LiveId" clId="{A299B12E-E556-4FD9-B950-379CF91CEAD0}" dt="2020-08-01T11:45:40.207" v="1651" actId="20577"/>
          <ac:spMkLst>
            <pc:docMk/>
            <pc:sldMk cId="989029768" sldId="2032"/>
            <ac:spMk id="2" creationId="{05873FEB-E40B-4EA6-854C-F9FD7BCE1F23}"/>
          </ac:spMkLst>
        </pc:spChg>
        <pc:spChg chg="del mod">
          <ac:chgData name="Eldert Grootenboer" userId="3fe8758b2c2b58d2" providerId="LiveId" clId="{A299B12E-E556-4FD9-B950-379CF91CEAD0}" dt="2020-08-01T12:19:39.059" v="2031"/>
          <ac:spMkLst>
            <pc:docMk/>
            <pc:sldMk cId="989029768" sldId="2032"/>
            <ac:spMk id="3" creationId="{FD5ECEDD-27C3-4D5A-AA8B-C9B53A6C8433}"/>
          </ac:spMkLst>
        </pc:spChg>
        <pc:graphicFrameChg chg="add mod">
          <ac:chgData name="Eldert Grootenboer" userId="3fe8758b2c2b58d2" providerId="LiveId" clId="{A299B12E-E556-4FD9-B950-379CF91CEAD0}" dt="2020-08-01T12:20:57.565" v="2038" actId="27349"/>
          <ac:graphicFrameMkLst>
            <pc:docMk/>
            <pc:sldMk cId="989029768" sldId="2032"/>
            <ac:graphicFrameMk id="4" creationId="{71B92F72-1A81-465F-AB33-6032E937426B}"/>
          </ac:graphicFrameMkLst>
        </pc:graphicFrameChg>
      </pc:sldChg>
      <pc:sldChg chg="addSp delSp modSp new del mod modTransition modNotesTx">
        <pc:chgData name="Eldert Grootenboer" userId="3fe8758b2c2b58d2" providerId="LiveId" clId="{A299B12E-E556-4FD9-B950-379CF91CEAD0}" dt="2020-08-01T13:12:20.645" v="2522" actId="47"/>
        <pc:sldMkLst>
          <pc:docMk/>
          <pc:sldMk cId="1851196139" sldId="2033"/>
        </pc:sldMkLst>
        <pc:spChg chg="mod">
          <ac:chgData name="Eldert Grootenboer" userId="3fe8758b2c2b58d2" providerId="LiveId" clId="{A299B12E-E556-4FD9-B950-379CF91CEAD0}" dt="2020-08-01T11:45:53.549" v="1661" actId="20577"/>
          <ac:spMkLst>
            <pc:docMk/>
            <pc:sldMk cId="1851196139" sldId="2033"/>
            <ac:spMk id="2" creationId="{B733A63E-3AF7-4889-A5D4-4F6FAE7DCF0F}"/>
          </ac:spMkLst>
        </pc:spChg>
        <pc:spChg chg="del mod">
          <ac:chgData name="Eldert Grootenboer" userId="3fe8758b2c2b58d2" providerId="LiveId" clId="{A299B12E-E556-4FD9-B950-379CF91CEAD0}" dt="2020-08-01T12:22:21.959" v="2122"/>
          <ac:spMkLst>
            <pc:docMk/>
            <pc:sldMk cId="1851196139" sldId="2033"/>
            <ac:spMk id="3" creationId="{FE38253E-43E0-491D-95D6-1CD0ED20BB38}"/>
          </ac:spMkLst>
        </pc:spChg>
        <pc:graphicFrameChg chg="add mod">
          <ac:chgData name="Eldert Grootenboer" userId="3fe8758b2c2b58d2" providerId="LiveId" clId="{A299B12E-E556-4FD9-B950-379CF91CEAD0}" dt="2020-08-01T12:23:58.811" v="2130" actId="27349"/>
          <ac:graphicFrameMkLst>
            <pc:docMk/>
            <pc:sldMk cId="1851196139" sldId="2033"/>
            <ac:graphicFrameMk id="4" creationId="{C0CC79B2-F65B-47A5-B0B7-6046490382DD}"/>
          </ac:graphicFrameMkLst>
        </pc:graphicFrameChg>
      </pc:sldChg>
      <pc:sldChg chg="modSp add del mod">
        <pc:chgData name="Eldert Grootenboer" userId="3fe8758b2c2b58d2" providerId="LiveId" clId="{A299B12E-E556-4FD9-B950-379CF91CEAD0}" dt="2020-08-01T11:51:24.756" v="1705" actId="47"/>
        <pc:sldMkLst>
          <pc:docMk/>
          <pc:sldMk cId="583012499" sldId="2034"/>
        </pc:sldMkLst>
        <pc:spChg chg="mod">
          <ac:chgData name="Eldert Grootenboer" userId="3fe8758b2c2b58d2" providerId="LiveId" clId="{A299B12E-E556-4FD9-B950-379CF91CEAD0}" dt="2020-08-01T11:49:08.880" v="1689" actId="21"/>
          <ac:spMkLst>
            <pc:docMk/>
            <pc:sldMk cId="583012499" sldId="2034"/>
            <ac:spMk id="4" creationId="{8E01B9A0-C5CF-40A7-91BD-DD4596B0D216}"/>
          </ac:spMkLst>
        </pc:spChg>
      </pc:sldChg>
      <pc:sldChg chg="addSp delSp modSp new mod modTransition modClrScheme modAnim chgLayout">
        <pc:chgData name="Eldert Grootenboer" userId="3fe8758b2c2b58d2" providerId="LiveId" clId="{A299B12E-E556-4FD9-B950-379CF91CEAD0}" dt="2020-08-18T15:32:32.904" v="3590" actId="20577"/>
        <pc:sldMkLst>
          <pc:docMk/>
          <pc:sldMk cId="2854366832" sldId="2034"/>
        </pc:sldMkLst>
        <pc:spChg chg="del mod ord">
          <ac:chgData name="Eldert Grootenboer" userId="3fe8758b2c2b58d2" providerId="LiveId" clId="{A299B12E-E556-4FD9-B950-379CF91CEAD0}" dt="2020-08-01T11:55:04.733" v="1811" actId="700"/>
          <ac:spMkLst>
            <pc:docMk/>
            <pc:sldMk cId="2854366832" sldId="2034"/>
            <ac:spMk id="2" creationId="{B77CBFD9-982E-4FD9-BC3F-FA0AC2B0F063}"/>
          </ac:spMkLst>
        </pc:spChg>
        <pc:spChg chg="del mod ord">
          <ac:chgData name="Eldert Grootenboer" userId="3fe8758b2c2b58d2" providerId="LiveId" clId="{A299B12E-E556-4FD9-B950-379CF91CEAD0}" dt="2020-08-01T11:55:04.733" v="1811" actId="700"/>
          <ac:spMkLst>
            <pc:docMk/>
            <pc:sldMk cId="2854366832" sldId="2034"/>
            <ac:spMk id="3" creationId="{2439C990-7626-44F8-8A6A-7EB7C36DD24B}"/>
          </ac:spMkLst>
        </pc:spChg>
        <pc:spChg chg="add mod ord">
          <ac:chgData name="Eldert Grootenboer" userId="3fe8758b2c2b58d2" providerId="LiveId" clId="{A299B12E-E556-4FD9-B950-379CF91CEAD0}" dt="2020-08-01T11:55:42.045" v="1829" actId="700"/>
          <ac:spMkLst>
            <pc:docMk/>
            <pc:sldMk cId="2854366832" sldId="2034"/>
            <ac:spMk id="4" creationId="{931C111F-846F-450B-8D3B-2F2B65EAFF13}"/>
          </ac:spMkLst>
        </pc:spChg>
        <pc:spChg chg="add del mod ord">
          <ac:chgData name="Eldert Grootenboer" userId="3fe8758b2c2b58d2" providerId="LiveId" clId="{A299B12E-E556-4FD9-B950-379CF91CEAD0}" dt="2020-08-01T11:55:42.045" v="1829" actId="700"/>
          <ac:spMkLst>
            <pc:docMk/>
            <pc:sldMk cId="2854366832" sldId="2034"/>
            <ac:spMk id="5" creationId="{16C6A5B0-E480-4366-B062-B7741DF640D3}"/>
          </ac:spMkLst>
        </pc:spChg>
        <pc:spChg chg="add mod">
          <ac:chgData name="Eldert Grootenboer" userId="3fe8758b2c2b58d2" providerId="LiveId" clId="{A299B12E-E556-4FD9-B950-379CF91CEAD0}" dt="2020-08-18T15:32:32.904" v="3590" actId="20577"/>
          <ac:spMkLst>
            <pc:docMk/>
            <pc:sldMk cId="2854366832" sldId="2034"/>
            <ac:spMk id="6" creationId="{E3B4D578-C1F3-4658-8AD6-D3AB2FEF231C}"/>
          </ac:spMkLst>
        </pc:spChg>
        <pc:spChg chg="add mod">
          <ac:chgData name="Eldert Grootenboer" userId="3fe8758b2c2b58d2" providerId="LiveId" clId="{A299B12E-E556-4FD9-B950-379CF91CEAD0}" dt="2020-08-01T12:25:36.755" v="2150" actId="113"/>
          <ac:spMkLst>
            <pc:docMk/>
            <pc:sldMk cId="2854366832" sldId="2034"/>
            <ac:spMk id="7" creationId="{6CA9753C-D508-4595-A0C6-54B2F26022BE}"/>
          </ac:spMkLst>
        </pc:spChg>
        <pc:spChg chg="add mod">
          <ac:chgData name="Eldert Grootenboer" userId="3fe8758b2c2b58d2" providerId="LiveId" clId="{A299B12E-E556-4FD9-B950-379CF91CEAD0}" dt="2020-08-01T12:25:36.755" v="2150" actId="113"/>
          <ac:spMkLst>
            <pc:docMk/>
            <pc:sldMk cId="2854366832" sldId="2034"/>
            <ac:spMk id="8" creationId="{1431CEED-DBF6-42A2-AA36-E06897D93636}"/>
          </ac:spMkLst>
        </pc:spChg>
        <pc:spChg chg="add mod">
          <ac:chgData name="Eldert Grootenboer" userId="3fe8758b2c2b58d2" providerId="LiveId" clId="{A299B12E-E556-4FD9-B950-379CF91CEAD0}" dt="2020-08-01T12:25:41.151" v="2152" actId="113"/>
          <ac:spMkLst>
            <pc:docMk/>
            <pc:sldMk cId="2854366832" sldId="2034"/>
            <ac:spMk id="9" creationId="{8D00C176-4987-4666-A869-FA2D37B177E9}"/>
          </ac:spMkLst>
        </pc:spChg>
        <pc:spChg chg="add mod">
          <ac:chgData name="Eldert Grootenboer" userId="3fe8758b2c2b58d2" providerId="LiveId" clId="{A299B12E-E556-4FD9-B950-379CF91CEAD0}" dt="2020-08-01T12:25:41.151" v="2152" actId="113"/>
          <ac:spMkLst>
            <pc:docMk/>
            <pc:sldMk cId="2854366832" sldId="2034"/>
            <ac:spMk id="10" creationId="{EC569B28-FE19-4CAC-985B-32C8548C2866}"/>
          </ac:spMkLst>
        </pc:spChg>
        <pc:spChg chg="add mod">
          <ac:chgData name="Eldert Grootenboer" userId="3fe8758b2c2b58d2" providerId="LiveId" clId="{A299B12E-E556-4FD9-B950-379CF91CEAD0}" dt="2020-08-01T12:25:41.151" v="2152" actId="113"/>
          <ac:spMkLst>
            <pc:docMk/>
            <pc:sldMk cId="2854366832" sldId="2034"/>
            <ac:spMk id="11" creationId="{2E3667A2-09DE-4C5C-8628-242A47E8AE89}"/>
          </ac:spMkLst>
        </pc:spChg>
      </pc:sldChg>
      <pc:sldChg chg="addSp delSp modSp add del mod">
        <pc:chgData name="Eldert Grootenboer" userId="3fe8758b2c2b58d2" providerId="LiveId" clId="{A299B12E-E556-4FD9-B950-379CF91CEAD0}" dt="2020-08-01T12:22:37.460" v="2125" actId="47"/>
        <pc:sldMkLst>
          <pc:docMk/>
          <pc:sldMk cId="509057422" sldId="2035"/>
        </pc:sldMkLst>
        <pc:spChg chg="mod">
          <ac:chgData name="Eldert Grootenboer" userId="3fe8758b2c2b58d2" providerId="LiveId" clId="{A299B12E-E556-4FD9-B950-379CF91CEAD0}" dt="2020-08-01T12:22:18.193" v="2120" actId="20577"/>
          <ac:spMkLst>
            <pc:docMk/>
            <pc:sldMk cId="509057422" sldId="2035"/>
            <ac:spMk id="3" creationId="{FE38253E-43E0-491D-95D6-1CD0ED20BB38}"/>
          </ac:spMkLst>
        </pc:spChg>
        <pc:graphicFrameChg chg="add del mod">
          <ac:chgData name="Eldert Grootenboer" userId="3fe8758b2c2b58d2" providerId="LiveId" clId="{A299B12E-E556-4FD9-B950-379CF91CEAD0}" dt="2020-08-01T12:22:16.442" v="2118"/>
          <ac:graphicFrameMkLst>
            <pc:docMk/>
            <pc:sldMk cId="509057422" sldId="2035"/>
            <ac:graphicFrameMk id="4" creationId="{3849EC91-8823-4067-B951-27940F04EE2A}"/>
          </ac:graphicFrameMkLst>
        </pc:graphicFrameChg>
      </pc:sldChg>
      <pc:sldChg chg="add del">
        <pc:chgData name="Eldert Grootenboer" userId="3fe8758b2c2b58d2" providerId="LiveId" clId="{A299B12E-E556-4FD9-B950-379CF91CEAD0}" dt="2020-08-01T12:21:02.397" v="2039" actId="2696"/>
        <pc:sldMkLst>
          <pc:docMk/>
          <pc:sldMk cId="817487471" sldId="2035"/>
        </pc:sldMkLst>
      </pc:sldChg>
      <pc:sldChg chg="add del">
        <pc:chgData name="Eldert Grootenboer" userId="3fe8758b2c2b58d2" providerId="LiveId" clId="{A299B12E-E556-4FD9-B950-379CF91CEAD0}" dt="2020-08-01T12:18:09.671" v="1846" actId="47"/>
        <pc:sldMkLst>
          <pc:docMk/>
          <pc:sldMk cId="973562881" sldId="2035"/>
        </pc:sldMkLst>
      </pc:sldChg>
      <pc:sldChg chg="add del">
        <pc:chgData name="Eldert Grootenboer" userId="3fe8758b2c2b58d2" providerId="LiveId" clId="{A299B12E-E556-4FD9-B950-379CF91CEAD0}" dt="2020-08-01T12:40:27.038" v="2197"/>
        <pc:sldMkLst>
          <pc:docMk/>
          <pc:sldMk cId="1218147619" sldId="2035"/>
        </pc:sldMkLst>
      </pc:sldChg>
      <pc:sldChg chg="delSp add del modTransition setBg delDesignElem">
        <pc:chgData name="Eldert Grootenboer" userId="3fe8758b2c2b58d2" providerId="LiveId" clId="{A299B12E-E556-4FD9-B950-379CF91CEAD0}" dt="2020-08-01T12:46:52.161" v="2273" actId="47"/>
        <pc:sldMkLst>
          <pc:docMk/>
          <pc:sldMk cId="3899641218" sldId="2035"/>
        </pc:sldMkLst>
        <pc:spChg chg="del">
          <ac:chgData name="Eldert Grootenboer" userId="3fe8758b2c2b58d2" providerId="LiveId" clId="{A299B12E-E556-4FD9-B950-379CF91CEAD0}" dt="2020-08-01T12:40:29.465" v="2200"/>
          <ac:spMkLst>
            <pc:docMk/>
            <pc:sldMk cId="3899641218" sldId="2035"/>
            <ac:spMk id="77" creationId="{F05C5575-0F07-43D0-AE78-81EAA8E67152}"/>
          </ac:spMkLst>
        </pc:spChg>
        <pc:spChg chg="del">
          <ac:chgData name="Eldert Grootenboer" userId="3fe8758b2c2b58d2" providerId="LiveId" clId="{A299B12E-E556-4FD9-B950-379CF91CEAD0}" dt="2020-08-01T12:40:29.465" v="2200"/>
          <ac:spMkLst>
            <pc:docMk/>
            <pc:sldMk cId="3899641218" sldId="2035"/>
            <ac:spMk id="7177" creationId="{E26B9EF5-5D92-4AC7-BC55-FC5C4C98ED4C}"/>
          </ac:spMkLst>
        </pc:spChg>
      </pc:sldChg>
      <pc:sldChg chg="addSp delSp modSp new del mod setBg modAnim setClrOvrMap">
        <pc:chgData name="Eldert Grootenboer" userId="3fe8758b2c2b58d2" providerId="LiveId" clId="{A299B12E-E556-4FD9-B950-379CF91CEAD0}" dt="2020-08-01T12:37:39.708" v="2183" actId="680"/>
        <pc:sldMkLst>
          <pc:docMk/>
          <pc:sldMk cId="4207346722" sldId="2035"/>
        </pc:sldMkLst>
        <pc:spChg chg="mod ord">
          <ac:chgData name="Eldert Grootenboer" userId="3fe8758b2c2b58d2" providerId="LiveId" clId="{A299B12E-E556-4FD9-B950-379CF91CEAD0}" dt="2020-08-01T12:37:35.961" v="2181" actId="26606"/>
          <ac:spMkLst>
            <pc:docMk/>
            <pc:sldMk cId="4207346722" sldId="2035"/>
            <ac:spMk id="2" creationId="{4CFAC96B-5632-4F84-A6DB-91195D934B5D}"/>
          </ac:spMkLst>
        </pc:spChg>
        <pc:spChg chg="add del">
          <ac:chgData name="Eldert Grootenboer" userId="3fe8758b2c2b58d2" providerId="LiveId" clId="{A299B12E-E556-4FD9-B950-379CF91CEAD0}" dt="2020-08-01T12:37:35.961" v="2181" actId="26606"/>
          <ac:spMkLst>
            <pc:docMk/>
            <pc:sldMk cId="4207346722" sldId="2035"/>
            <ac:spMk id="13" creationId="{E26B9EF5-5D92-4AC7-BC55-FC5C4C98ED4C}"/>
          </ac:spMkLst>
        </pc:spChg>
        <pc:spChg chg="add del">
          <ac:chgData name="Eldert Grootenboer" userId="3fe8758b2c2b58d2" providerId="LiveId" clId="{A299B12E-E556-4FD9-B950-379CF91CEAD0}" dt="2020-08-01T12:37:35.961" v="2181" actId="26606"/>
          <ac:spMkLst>
            <pc:docMk/>
            <pc:sldMk cId="4207346722" sldId="2035"/>
            <ac:spMk id="15" creationId="{F05C5575-0F07-43D0-AE78-81EAA8E67152}"/>
          </ac:spMkLst>
        </pc:spChg>
        <pc:picChg chg="add del mod ord">
          <ac:chgData name="Eldert Grootenboer" userId="3fe8758b2c2b58d2" providerId="LiveId" clId="{A299B12E-E556-4FD9-B950-379CF91CEAD0}" dt="2020-08-01T12:37:38.066" v="2182" actId="22"/>
          <ac:picMkLst>
            <pc:docMk/>
            <pc:sldMk cId="4207346722" sldId="2035"/>
            <ac:picMk id="4" creationId="{2E6F4348-79E2-453D-AF2A-BDB0A1EFD2BF}"/>
          </ac:picMkLst>
        </pc:picChg>
        <pc:picChg chg="add del mod">
          <ac:chgData name="Eldert Grootenboer" userId="3fe8758b2c2b58d2" providerId="LiveId" clId="{A299B12E-E556-4FD9-B950-379CF91CEAD0}" dt="2020-08-01T12:37:38.066" v="2182" actId="22"/>
          <ac:picMkLst>
            <pc:docMk/>
            <pc:sldMk cId="4207346722" sldId="2035"/>
            <ac:picMk id="6" creationId="{8B6C3999-484C-4ED8-BC9C-EAD0F37326D7}"/>
          </ac:picMkLst>
        </pc:picChg>
        <pc:picChg chg="add del mod">
          <ac:chgData name="Eldert Grootenboer" userId="3fe8758b2c2b58d2" providerId="LiveId" clId="{A299B12E-E556-4FD9-B950-379CF91CEAD0}" dt="2020-08-01T12:37:38.066" v="2182" actId="22"/>
          <ac:picMkLst>
            <pc:docMk/>
            <pc:sldMk cId="4207346722" sldId="2035"/>
            <ac:picMk id="8" creationId="{DCF87972-EF5D-4B77-9A21-61C99F525A30}"/>
          </ac:picMkLst>
        </pc:picChg>
      </pc:sldChg>
      <pc:sldChg chg="addSp delSp modSp new mod modTransition setBg setClrOvrMap">
        <pc:chgData name="Eldert Grootenboer" userId="3fe8758b2c2b58d2" providerId="LiveId" clId="{A299B12E-E556-4FD9-B950-379CF91CEAD0}" dt="2020-08-01T13:13:05.948" v="2528"/>
        <pc:sldMkLst>
          <pc:docMk/>
          <pc:sldMk cId="2830456987" sldId="2036"/>
        </pc:sldMkLst>
        <pc:spChg chg="mod">
          <ac:chgData name="Eldert Grootenboer" userId="3fe8758b2c2b58d2" providerId="LiveId" clId="{A299B12E-E556-4FD9-B950-379CF91CEAD0}" dt="2020-08-01T12:42:55.183" v="2269" actId="26606"/>
          <ac:spMkLst>
            <pc:docMk/>
            <pc:sldMk cId="2830456987" sldId="2036"/>
            <ac:spMk id="2" creationId="{F477476A-A04A-4711-9154-FCFF0900119A}"/>
          </ac:spMkLst>
        </pc:spChg>
        <pc:spChg chg="add del">
          <ac:chgData name="Eldert Grootenboer" userId="3fe8758b2c2b58d2" providerId="LiveId" clId="{A299B12E-E556-4FD9-B950-379CF91CEAD0}" dt="2020-08-01T12:42:55.193" v="2270" actId="26606"/>
          <ac:spMkLst>
            <pc:docMk/>
            <pc:sldMk cId="2830456987" sldId="2036"/>
            <ac:spMk id="13" creationId="{BCC55ACC-A2F6-403C-A3A4-D59B3734D45F}"/>
          </ac:spMkLst>
        </pc:spChg>
        <pc:spChg chg="add del">
          <ac:chgData name="Eldert Grootenboer" userId="3fe8758b2c2b58d2" providerId="LiveId" clId="{A299B12E-E556-4FD9-B950-379CF91CEAD0}" dt="2020-08-01T12:42:55.183" v="2269" actId="26606"/>
          <ac:spMkLst>
            <pc:docMk/>
            <pc:sldMk cId="2830456987" sldId="2036"/>
            <ac:spMk id="18" creationId="{F72D119F-8562-42DA-AE9A-70D44FDCFD12}"/>
          </ac:spMkLst>
        </pc:spChg>
        <pc:spChg chg="add">
          <ac:chgData name="Eldert Grootenboer" userId="3fe8758b2c2b58d2" providerId="LiveId" clId="{A299B12E-E556-4FD9-B950-379CF91CEAD0}" dt="2020-08-01T12:42:55.193" v="2270" actId="26606"/>
          <ac:spMkLst>
            <pc:docMk/>
            <pc:sldMk cId="2830456987" sldId="2036"/>
            <ac:spMk id="20" creationId="{BCC55ACC-A2F6-403C-A3A4-D59B3734D45F}"/>
          </ac:spMkLst>
        </pc:spChg>
        <pc:picChg chg="add del">
          <ac:chgData name="Eldert Grootenboer" userId="3fe8758b2c2b58d2" providerId="LiveId" clId="{A299B12E-E556-4FD9-B950-379CF91CEAD0}" dt="2020-08-01T12:40:50.608" v="2207" actId="22"/>
          <ac:picMkLst>
            <pc:docMk/>
            <pc:sldMk cId="2830456987" sldId="2036"/>
            <ac:picMk id="4" creationId="{3FC7D379-8936-47CB-BD8E-E409499D78F5}"/>
          </ac:picMkLst>
        </pc:picChg>
        <pc:picChg chg="add mod">
          <ac:chgData name="Eldert Grootenboer" userId="3fe8758b2c2b58d2" providerId="LiveId" clId="{A299B12E-E556-4FD9-B950-379CF91CEAD0}" dt="2020-08-01T12:42:55.183" v="2269" actId="26606"/>
          <ac:picMkLst>
            <pc:docMk/>
            <pc:sldMk cId="2830456987" sldId="2036"/>
            <ac:picMk id="6" creationId="{A0B693B5-0518-4B17-979A-7DF178923BA9}"/>
          </ac:picMkLst>
        </pc:picChg>
        <pc:picChg chg="add mod ord">
          <ac:chgData name="Eldert Grootenboer" userId="3fe8758b2c2b58d2" providerId="LiveId" clId="{A299B12E-E556-4FD9-B950-379CF91CEAD0}" dt="2020-08-01T12:41:34.777" v="2219" actId="26606"/>
          <ac:picMkLst>
            <pc:docMk/>
            <pc:sldMk cId="2830456987" sldId="2036"/>
            <ac:picMk id="8" creationId="{1044A27B-D34E-4CED-ACF5-49B6951B54B9}"/>
          </ac:picMkLst>
        </pc:picChg>
      </pc:sldChg>
      <pc:sldChg chg="addSp delSp modSp new mod ord modTransition setBg setClrOvrMap">
        <pc:chgData name="Eldert Grootenboer" userId="3fe8758b2c2b58d2" providerId="LiveId" clId="{A299B12E-E556-4FD9-B950-379CF91CEAD0}" dt="2020-08-12T09:07:43.097" v="3041" actId="20578"/>
        <pc:sldMkLst>
          <pc:docMk/>
          <pc:sldMk cId="2372653899" sldId="2037"/>
        </pc:sldMkLst>
        <pc:spChg chg="mod">
          <ac:chgData name="Eldert Grootenboer" userId="3fe8758b2c2b58d2" providerId="LiveId" clId="{A299B12E-E556-4FD9-B950-379CF91CEAD0}" dt="2020-08-01T12:42:41.353" v="2267" actId="26606"/>
          <ac:spMkLst>
            <pc:docMk/>
            <pc:sldMk cId="2372653899" sldId="2037"/>
            <ac:spMk id="2" creationId="{F1F61FA7-CA8E-4F09-AD70-24289EAF6566}"/>
          </ac:spMkLst>
        </pc:spChg>
        <pc:spChg chg="add">
          <ac:chgData name="Eldert Grootenboer" userId="3fe8758b2c2b58d2" providerId="LiveId" clId="{A299B12E-E556-4FD9-B950-379CF91CEAD0}" dt="2020-08-01T12:42:41.353" v="2267" actId="26606"/>
          <ac:spMkLst>
            <pc:docMk/>
            <pc:sldMk cId="2372653899" sldId="2037"/>
            <ac:spMk id="12" creationId="{B26D9126-4D1A-435C-92FD-2EFD34104B27}"/>
          </ac:spMkLst>
        </pc:spChg>
        <pc:spChg chg="add del">
          <ac:chgData name="Eldert Grootenboer" userId="3fe8758b2c2b58d2" providerId="LiveId" clId="{A299B12E-E556-4FD9-B950-379CF91CEAD0}" dt="2020-08-01T12:42:23.679" v="2252" actId="26606"/>
          <ac:spMkLst>
            <pc:docMk/>
            <pc:sldMk cId="2372653899" sldId="2037"/>
            <ac:spMk id="13" creationId="{E26B9EF5-5D92-4AC7-BC55-FC5C4C98ED4C}"/>
          </ac:spMkLst>
        </pc:spChg>
        <pc:spChg chg="add">
          <ac:chgData name="Eldert Grootenboer" userId="3fe8758b2c2b58d2" providerId="LiveId" clId="{A299B12E-E556-4FD9-B950-379CF91CEAD0}" dt="2020-08-01T12:42:41.353" v="2267" actId="26606"/>
          <ac:spMkLst>
            <pc:docMk/>
            <pc:sldMk cId="2372653899" sldId="2037"/>
            <ac:spMk id="14" creationId="{8A177BCC-4208-4795-8572-4D623BA1E2A0}"/>
          </ac:spMkLst>
        </pc:spChg>
        <pc:spChg chg="add del">
          <ac:chgData name="Eldert Grootenboer" userId="3fe8758b2c2b58d2" providerId="LiveId" clId="{A299B12E-E556-4FD9-B950-379CF91CEAD0}" dt="2020-08-01T12:42:23.679" v="2252" actId="26606"/>
          <ac:spMkLst>
            <pc:docMk/>
            <pc:sldMk cId="2372653899" sldId="2037"/>
            <ac:spMk id="15" creationId="{F05C5575-0F07-43D0-AE78-81EAA8E67152}"/>
          </ac:spMkLst>
        </pc:spChg>
        <pc:spChg chg="add del">
          <ac:chgData name="Eldert Grootenboer" userId="3fe8758b2c2b58d2" providerId="LiveId" clId="{A299B12E-E556-4FD9-B950-379CF91CEAD0}" dt="2020-08-01T12:42:03.377" v="2238" actId="26606"/>
          <ac:spMkLst>
            <pc:docMk/>
            <pc:sldMk cId="2372653899" sldId="2037"/>
            <ac:spMk id="20" creationId="{B26D9126-4D1A-435C-92FD-2EFD34104B27}"/>
          </ac:spMkLst>
        </pc:spChg>
        <pc:spChg chg="add del">
          <ac:chgData name="Eldert Grootenboer" userId="3fe8758b2c2b58d2" providerId="LiveId" clId="{A299B12E-E556-4FD9-B950-379CF91CEAD0}" dt="2020-08-01T12:42:03.377" v="2238" actId="26606"/>
          <ac:spMkLst>
            <pc:docMk/>
            <pc:sldMk cId="2372653899" sldId="2037"/>
            <ac:spMk id="22" creationId="{8A177BCC-4208-4795-8572-4D623BA1E2A0}"/>
          </ac:spMkLst>
        </pc:spChg>
        <pc:picChg chg="add mod ord">
          <ac:chgData name="Eldert Grootenboer" userId="3fe8758b2c2b58d2" providerId="LiveId" clId="{A299B12E-E556-4FD9-B950-379CF91CEAD0}" dt="2020-08-01T12:42:41.353" v="2267" actId="26606"/>
          <ac:picMkLst>
            <pc:docMk/>
            <pc:sldMk cId="2372653899" sldId="2037"/>
            <ac:picMk id="4" creationId="{C54CA853-59E8-4245-B838-ADB3B338668A}"/>
          </ac:picMkLst>
        </pc:picChg>
        <pc:picChg chg="add del mod ord">
          <ac:chgData name="Eldert Grootenboer" userId="3fe8758b2c2b58d2" providerId="LiveId" clId="{A299B12E-E556-4FD9-B950-379CF91CEAD0}" dt="2020-08-01T12:42:41.353" v="2267" actId="26606"/>
          <ac:picMkLst>
            <pc:docMk/>
            <pc:sldMk cId="2372653899" sldId="2037"/>
            <ac:picMk id="6" creationId="{D69867C0-E5C5-4FFB-B907-B511F4A1E609}"/>
          </ac:picMkLst>
        </pc:picChg>
        <pc:picChg chg="add mod ord">
          <ac:chgData name="Eldert Grootenboer" userId="3fe8758b2c2b58d2" providerId="LiveId" clId="{A299B12E-E556-4FD9-B950-379CF91CEAD0}" dt="2020-08-01T12:42:41.353" v="2267" actId="26606"/>
          <ac:picMkLst>
            <pc:docMk/>
            <pc:sldMk cId="2372653899" sldId="2037"/>
            <ac:picMk id="8" creationId="{5148A855-C4A5-4CD5-8142-6C5473B9872A}"/>
          </ac:picMkLst>
        </pc:picChg>
        <pc:picChg chg="add del">
          <ac:chgData name="Eldert Grootenboer" userId="3fe8758b2c2b58d2" providerId="LiveId" clId="{A299B12E-E556-4FD9-B950-379CF91CEAD0}" dt="2020-08-01T12:42:06.778" v="2241" actId="22"/>
          <ac:picMkLst>
            <pc:docMk/>
            <pc:sldMk cId="2372653899" sldId="2037"/>
            <ac:picMk id="9" creationId="{7AE945C2-25CF-4910-A539-878BAB487683}"/>
          </ac:picMkLst>
        </pc:picChg>
        <pc:picChg chg="add del mod">
          <ac:chgData name="Eldert Grootenboer" userId="3fe8758b2c2b58d2" providerId="LiveId" clId="{A299B12E-E556-4FD9-B950-379CF91CEAD0}" dt="2020-08-01T12:42:10.667" v="2245" actId="22"/>
          <ac:picMkLst>
            <pc:docMk/>
            <pc:sldMk cId="2372653899" sldId="2037"/>
            <ac:picMk id="10" creationId="{F5312E64-49E3-4133-8E23-01BE0215FBA8}"/>
          </ac:picMkLst>
        </pc:picChg>
        <pc:picChg chg="add del mod">
          <ac:chgData name="Eldert Grootenboer" userId="3fe8758b2c2b58d2" providerId="LiveId" clId="{A299B12E-E556-4FD9-B950-379CF91CEAD0}" dt="2020-08-01T12:42:21.046" v="2250" actId="22"/>
          <ac:picMkLst>
            <pc:docMk/>
            <pc:sldMk cId="2372653899" sldId="2037"/>
            <ac:picMk id="11" creationId="{A47E3A57-9B76-4EBF-B000-B250C466E93A}"/>
          </ac:picMkLst>
        </pc:picChg>
      </pc:sldChg>
      <pc:sldChg chg="addSp delSp modSp new mod ord modTransition modClrScheme delAnim modAnim chgLayout">
        <pc:chgData name="Eldert Grootenboer" userId="3fe8758b2c2b58d2" providerId="LiveId" clId="{A299B12E-E556-4FD9-B950-379CF91CEAD0}" dt="2020-08-08T09:48:14.865" v="2916"/>
        <pc:sldMkLst>
          <pc:docMk/>
          <pc:sldMk cId="794305193" sldId="2038"/>
        </pc:sldMkLst>
        <pc:spChg chg="del mod ord">
          <ac:chgData name="Eldert Grootenboer" userId="3fe8758b2c2b58d2" providerId="LiveId" clId="{A299B12E-E556-4FD9-B950-379CF91CEAD0}" dt="2020-08-01T13:06:19.042" v="2429" actId="478"/>
          <ac:spMkLst>
            <pc:docMk/>
            <pc:sldMk cId="794305193" sldId="2038"/>
            <ac:spMk id="2" creationId="{6BB4D49C-47EF-4955-8A88-44B3146DD877}"/>
          </ac:spMkLst>
        </pc:spChg>
        <pc:spChg chg="del">
          <ac:chgData name="Eldert Grootenboer" userId="3fe8758b2c2b58d2" providerId="LiveId" clId="{A299B12E-E556-4FD9-B950-379CF91CEAD0}" dt="2020-08-01T13:02:24.678" v="2402" actId="700"/>
          <ac:spMkLst>
            <pc:docMk/>
            <pc:sldMk cId="794305193" sldId="2038"/>
            <ac:spMk id="3" creationId="{016CB73C-439D-48FF-BB5E-D851B1688BDF}"/>
          </ac:spMkLst>
        </pc:spChg>
        <pc:spChg chg="add mod">
          <ac:chgData name="Eldert Grootenboer" userId="3fe8758b2c2b58d2" providerId="LiveId" clId="{A299B12E-E556-4FD9-B950-379CF91CEAD0}" dt="2020-08-01T13:02:47.481" v="2406" actId="108"/>
          <ac:spMkLst>
            <pc:docMk/>
            <pc:sldMk cId="794305193" sldId="2038"/>
            <ac:spMk id="6" creationId="{454B929C-B2D7-43D6-A1FD-B6557DDD8E4C}"/>
          </ac:spMkLst>
        </pc:spChg>
        <pc:spChg chg="del mod topLvl">
          <ac:chgData name="Eldert Grootenboer" userId="3fe8758b2c2b58d2" providerId="LiveId" clId="{A299B12E-E556-4FD9-B950-379CF91CEAD0}" dt="2020-08-08T09:47:41.841" v="2909" actId="478"/>
          <ac:spMkLst>
            <pc:docMk/>
            <pc:sldMk cId="794305193" sldId="2038"/>
            <ac:spMk id="10" creationId="{4F6CC405-0B4C-4F19-AF94-77520EEF271F}"/>
          </ac:spMkLst>
        </pc:spChg>
        <pc:spChg chg="del mod topLvl">
          <ac:chgData name="Eldert Grootenboer" userId="3fe8758b2c2b58d2" providerId="LiveId" clId="{A299B12E-E556-4FD9-B950-379CF91CEAD0}" dt="2020-08-08T09:46:32.196" v="2858" actId="478"/>
          <ac:spMkLst>
            <pc:docMk/>
            <pc:sldMk cId="794305193" sldId="2038"/>
            <ac:spMk id="11" creationId="{08044F82-B899-4B7D-B4A6-D257A636C131}"/>
          </ac:spMkLst>
        </pc:spChg>
        <pc:spChg chg="del mod topLvl">
          <ac:chgData name="Eldert Grootenboer" userId="3fe8758b2c2b58d2" providerId="LiveId" clId="{A299B12E-E556-4FD9-B950-379CF91CEAD0}" dt="2020-08-08T09:46:39.385" v="2860" actId="478"/>
          <ac:spMkLst>
            <pc:docMk/>
            <pc:sldMk cId="794305193" sldId="2038"/>
            <ac:spMk id="12" creationId="{A18C4415-C959-40D7-AE46-F70C77B9CEEA}"/>
          </ac:spMkLst>
        </pc:spChg>
        <pc:spChg chg="del mod topLvl">
          <ac:chgData name="Eldert Grootenboer" userId="3fe8758b2c2b58d2" providerId="LiveId" clId="{A299B12E-E556-4FD9-B950-379CF91CEAD0}" dt="2020-08-08T09:46:36.116" v="2859" actId="478"/>
          <ac:spMkLst>
            <pc:docMk/>
            <pc:sldMk cId="794305193" sldId="2038"/>
            <ac:spMk id="13" creationId="{90C6D0A8-F6FB-4FF3-8283-C67B16A00AFC}"/>
          </ac:spMkLst>
        </pc:spChg>
        <pc:spChg chg="mod ord topLvl">
          <ac:chgData name="Eldert Grootenboer" userId="3fe8758b2c2b58d2" providerId="LiveId" clId="{A299B12E-E556-4FD9-B950-379CF91CEAD0}" dt="2020-08-08T09:47:35.784" v="2907" actId="1035"/>
          <ac:spMkLst>
            <pc:docMk/>
            <pc:sldMk cId="794305193" sldId="2038"/>
            <ac:spMk id="14" creationId="{71C0BDAF-EE5D-4930-A2CD-12D6F5C41003}"/>
          </ac:spMkLst>
        </pc:spChg>
        <pc:spChg chg="mod ord topLvl">
          <ac:chgData name="Eldert Grootenboer" userId="3fe8758b2c2b58d2" providerId="LiveId" clId="{A299B12E-E556-4FD9-B950-379CF91CEAD0}" dt="2020-08-08T09:47:35.784" v="2907" actId="1035"/>
          <ac:spMkLst>
            <pc:docMk/>
            <pc:sldMk cId="794305193" sldId="2038"/>
            <ac:spMk id="15" creationId="{64920289-0264-4F93-900A-6D6B6AF2BE55}"/>
          </ac:spMkLst>
        </pc:spChg>
        <pc:spChg chg="mod topLvl">
          <ac:chgData name="Eldert Grootenboer" userId="3fe8758b2c2b58d2" providerId="LiveId" clId="{A299B12E-E556-4FD9-B950-379CF91CEAD0}" dt="2020-08-08T09:46:20.884" v="2856" actId="1035"/>
          <ac:spMkLst>
            <pc:docMk/>
            <pc:sldMk cId="794305193" sldId="2038"/>
            <ac:spMk id="16" creationId="{9842071F-B6EA-4E30-9FAC-D893D16504B7}"/>
          </ac:spMkLst>
        </pc:spChg>
        <pc:spChg chg="mod topLvl">
          <ac:chgData name="Eldert Grootenboer" userId="3fe8758b2c2b58d2" providerId="LiveId" clId="{A299B12E-E556-4FD9-B950-379CF91CEAD0}" dt="2020-08-08T09:47:35.784" v="2907" actId="1035"/>
          <ac:spMkLst>
            <pc:docMk/>
            <pc:sldMk cId="794305193" sldId="2038"/>
            <ac:spMk id="17" creationId="{9661D7B8-54BB-4DF8-9CF9-BC12A3746091}"/>
          </ac:spMkLst>
        </pc:spChg>
        <pc:spChg chg="mod topLvl">
          <ac:chgData name="Eldert Grootenboer" userId="3fe8758b2c2b58d2" providerId="LiveId" clId="{A299B12E-E556-4FD9-B950-379CF91CEAD0}" dt="2020-08-08T09:47:35.784" v="2907" actId="1035"/>
          <ac:spMkLst>
            <pc:docMk/>
            <pc:sldMk cId="794305193" sldId="2038"/>
            <ac:spMk id="18" creationId="{026E9BB7-160B-47B7-95AF-64DB300D1D60}"/>
          </ac:spMkLst>
        </pc:spChg>
        <pc:spChg chg="add del mod">
          <ac:chgData name="Eldert Grootenboer" userId="3fe8758b2c2b58d2" providerId="LiveId" clId="{A299B12E-E556-4FD9-B950-379CF91CEAD0}" dt="2020-08-08T09:47:44.273" v="2910" actId="478"/>
          <ac:spMkLst>
            <pc:docMk/>
            <pc:sldMk cId="794305193" sldId="2038"/>
            <ac:spMk id="19" creationId="{E89510D5-9059-4E5F-8DBE-18569FBDB561}"/>
          </ac:spMkLst>
        </pc:spChg>
        <pc:spChg chg="add del mod">
          <ac:chgData name="Eldert Grootenboer" userId="3fe8758b2c2b58d2" providerId="LiveId" clId="{A299B12E-E556-4FD9-B950-379CF91CEAD0}" dt="2020-08-08T09:47:48.781" v="2912" actId="478"/>
          <ac:spMkLst>
            <pc:docMk/>
            <pc:sldMk cId="794305193" sldId="2038"/>
            <ac:spMk id="20" creationId="{96C5B167-75EB-4E3D-99B0-428BE28FF4C8}"/>
          </ac:spMkLst>
        </pc:spChg>
        <pc:spChg chg="add del mod">
          <ac:chgData name="Eldert Grootenboer" userId="3fe8758b2c2b58d2" providerId="LiveId" clId="{A299B12E-E556-4FD9-B950-379CF91CEAD0}" dt="2020-08-08T09:47:50.630" v="2913" actId="478"/>
          <ac:spMkLst>
            <pc:docMk/>
            <pc:sldMk cId="794305193" sldId="2038"/>
            <ac:spMk id="21" creationId="{0F96655B-A9F2-4453-A100-078685D9CD74}"/>
          </ac:spMkLst>
        </pc:spChg>
        <pc:spChg chg="add del mod">
          <ac:chgData name="Eldert Grootenboer" userId="3fe8758b2c2b58d2" providerId="LiveId" clId="{A299B12E-E556-4FD9-B950-379CF91CEAD0}" dt="2020-08-08T09:47:52.949" v="2914" actId="478"/>
          <ac:spMkLst>
            <pc:docMk/>
            <pc:sldMk cId="794305193" sldId="2038"/>
            <ac:spMk id="22" creationId="{F44698D2-C045-4CEF-BAAD-0C6738DC0A01}"/>
          </ac:spMkLst>
        </pc:spChg>
        <pc:grpChg chg="add del mod">
          <ac:chgData name="Eldert Grootenboer" userId="3fe8758b2c2b58d2" providerId="LiveId" clId="{A299B12E-E556-4FD9-B950-379CF91CEAD0}" dt="2020-08-01T13:14:45.466" v="2543" actId="165"/>
          <ac:grpSpMkLst>
            <pc:docMk/>
            <pc:sldMk cId="794305193" sldId="2038"/>
            <ac:grpSpMk id="9" creationId="{D32A77D6-5308-43C1-B6DE-37C5FBA52FD3}"/>
          </ac:grpSpMkLst>
        </pc:grpChg>
        <pc:graphicFrameChg chg="add del mod">
          <ac:chgData name="Eldert Grootenboer" userId="3fe8758b2c2b58d2" providerId="LiveId" clId="{A299B12E-E556-4FD9-B950-379CF91CEAD0}" dt="2020-08-01T13:14:43.650" v="2540" actId="18245"/>
          <ac:graphicFrameMkLst>
            <pc:docMk/>
            <pc:sldMk cId="794305193" sldId="2038"/>
            <ac:graphicFrameMk id="7" creationId="{DF32295D-7047-4CB4-969C-D1C856F88AE4}"/>
          </ac:graphicFrameMkLst>
        </pc:graphicFrameChg>
        <pc:picChg chg="add del mod ord">
          <ac:chgData name="Eldert Grootenboer" userId="3fe8758b2c2b58d2" providerId="LiveId" clId="{A299B12E-E556-4FD9-B950-379CF91CEAD0}" dt="2020-08-08T09:38:10.293" v="2767" actId="21"/>
          <ac:picMkLst>
            <pc:docMk/>
            <pc:sldMk cId="794305193" sldId="2038"/>
            <ac:picMk id="2" creationId="{98AEE548-1E7B-40DA-8ADD-0487ADB84F71}"/>
          </ac:picMkLst>
        </pc:picChg>
        <pc:picChg chg="add del mod">
          <ac:chgData name="Eldert Grootenboer" userId="3fe8758b2c2b58d2" providerId="LiveId" clId="{A299B12E-E556-4FD9-B950-379CF91CEAD0}" dt="2020-08-08T09:40:43.857" v="2773"/>
          <ac:picMkLst>
            <pc:docMk/>
            <pc:sldMk cId="794305193" sldId="2038"/>
            <ac:picMk id="3" creationId="{A73E8E87-FCFE-4730-B175-5F71C1028B9E}"/>
          </ac:picMkLst>
        </pc:picChg>
        <pc:picChg chg="add mod">
          <ac:chgData name="Eldert Grootenboer" userId="3fe8758b2c2b58d2" providerId="LiveId" clId="{A299B12E-E556-4FD9-B950-379CF91CEAD0}" dt="2020-08-08T09:45:46.399" v="2793" actId="1076"/>
          <ac:picMkLst>
            <pc:docMk/>
            <pc:sldMk cId="794305193" sldId="2038"/>
            <ac:picMk id="4" creationId="{4BC29DA1-31FE-42CF-8EFA-1C08433BDB4A}"/>
          </ac:picMkLst>
        </pc:picChg>
        <pc:picChg chg="add del">
          <ac:chgData name="Eldert Grootenboer" userId="3fe8758b2c2b58d2" providerId="LiveId" clId="{A299B12E-E556-4FD9-B950-379CF91CEAD0}" dt="2020-08-01T13:02:37.726" v="2404" actId="22"/>
          <ac:picMkLst>
            <pc:docMk/>
            <pc:sldMk cId="794305193" sldId="2038"/>
            <ac:picMk id="5" creationId="{E750110C-EECE-4964-B60E-AD52A614A0E3}"/>
          </ac:picMkLst>
        </pc:picChg>
        <pc:picChg chg="add del mod">
          <ac:chgData name="Eldert Grootenboer" userId="3fe8758b2c2b58d2" providerId="LiveId" clId="{A299B12E-E556-4FD9-B950-379CF91CEAD0}" dt="2020-08-08T09:41:36.453" v="2775" actId="478"/>
          <ac:picMkLst>
            <pc:docMk/>
            <pc:sldMk cId="794305193" sldId="2038"/>
            <ac:picMk id="8" creationId="{7FD93F5C-9E18-48B1-BDCB-F10900AC26F9}"/>
          </ac:picMkLst>
        </pc:picChg>
      </pc:sldChg>
      <pc:sldChg chg="addSp delSp add del setBg delDesignElem">
        <pc:chgData name="Eldert Grootenboer" userId="3fe8758b2c2b58d2" providerId="LiveId" clId="{A299B12E-E556-4FD9-B950-379CF91CEAD0}" dt="2020-08-01T13:02:06.830" v="2392"/>
        <pc:sldMkLst>
          <pc:docMk/>
          <pc:sldMk cId="889392859" sldId="2038"/>
        </pc:sldMkLst>
        <pc:spChg chg="add del">
          <ac:chgData name="Eldert Grootenboer" userId="3fe8758b2c2b58d2" providerId="LiveId" clId="{A299B12E-E556-4FD9-B950-379CF91CEAD0}" dt="2020-08-01T13:02:06.830" v="2392"/>
          <ac:spMkLst>
            <pc:docMk/>
            <pc:sldMk cId="889392859" sldId="2038"/>
            <ac:spMk id="12" creationId="{357DD0D3-F869-46D0-944C-6EC60E19E351}"/>
          </ac:spMkLst>
        </pc:spChg>
      </pc:sldChg>
      <pc:sldChg chg="addSp delSp add del setBg delDesignElem">
        <pc:chgData name="Eldert Grootenboer" userId="3fe8758b2c2b58d2" providerId="LiveId" clId="{A299B12E-E556-4FD9-B950-379CF91CEAD0}" dt="2020-08-01T13:02:10.497" v="2395"/>
        <pc:sldMkLst>
          <pc:docMk/>
          <pc:sldMk cId="3510744452" sldId="2038"/>
        </pc:sldMkLst>
        <pc:spChg chg="add del">
          <ac:chgData name="Eldert Grootenboer" userId="3fe8758b2c2b58d2" providerId="LiveId" clId="{A299B12E-E556-4FD9-B950-379CF91CEAD0}" dt="2020-08-01T13:02:10.497" v="2395"/>
          <ac:spMkLst>
            <pc:docMk/>
            <pc:sldMk cId="3510744452" sldId="2038"/>
            <ac:spMk id="12" creationId="{357DD0D3-F869-46D0-944C-6EC60E19E351}"/>
          </ac:spMkLst>
        </pc:spChg>
      </pc:sldChg>
      <pc:sldChg chg="add del modTransition">
        <pc:chgData name="Eldert Grootenboer" userId="3fe8758b2c2b58d2" providerId="LiveId" clId="{A299B12E-E556-4FD9-B950-379CF91CEAD0}" dt="2020-08-01T13:02:01.243" v="2389" actId="47"/>
        <pc:sldMkLst>
          <pc:docMk/>
          <pc:sldMk cId="3553063816" sldId="2038"/>
        </pc:sldMkLst>
      </pc:sldChg>
      <pc:sldChg chg="addSp delSp modSp add del mod modTransition modAnim chgLayout">
        <pc:chgData name="Eldert Grootenboer" userId="3fe8758b2c2b58d2" providerId="LiveId" clId="{A299B12E-E556-4FD9-B950-379CF91CEAD0}" dt="2020-08-08T09:47:55.202" v="2915" actId="47"/>
        <pc:sldMkLst>
          <pc:docMk/>
          <pc:sldMk cId="2996256721" sldId="2039"/>
        </pc:sldMkLst>
        <pc:spChg chg="del mod ord">
          <ac:chgData name="Eldert Grootenboer" userId="3fe8758b2c2b58d2" providerId="LiveId" clId="{A299B12E-E556-4FD9-B950-379CF91CEAD0}" dt="2020-08-01T13:06:14.194" v="2428" actId="478"/>
          <ac:spMkLst>
            <pc:docMk/>
            <pc:sldMk cId="2996256721" sldId="2039"/>
            <ac:spMk id="2" creationId="{6BB4D49C-47EF-4955-8A88-44B3146DD877}"/>
          </ac:spMkLst>
        </pc:spChg>
        <pc:spChg chg="mod">
          <ac:chgData name="Eldert Grootenboer" userId="3fe8758b2c2b58d2" providerId="LiveId" clId="{A299B12E-E556-4FD9-B950-379CF91CEAD0}" dt="2020-08-01T13:06:30.932" v="2442" actId="20577"/>
          <ac:spMkLst>
            <pc:docMk/>
            <pc:sldMk cId="2996256721" sldId="2039"/>
            <ac:spMk id="6" creationId="{454B929C-B2D7-43D6-A1FD-B6557DDD8E4C}"/>
          </ac:spMkLst>
        </pc:spChg>
        <pc:spChg chg="mod topLvl">
          <ac:chgData name="Eldert Grootenboer" userId="3fe8758b2c2b58d2" providerId="LiveId" clId="{A299B12E-E556-4FD9-B950-379CF91CEAD0}" dt="2020-08-01T13:16:40.311" v="2560" actId="165"/>
          <ac:spMkLst>
            <pc:docMk/>
            <pc:sldMk cId="2996256721" sldId="2039"/>
            <ac:spMk id="11" creationId="{6877ABF8-DED3-4B67-8D76-2893B7BA6C09}"/>
          </ac:spMkLst>
        </pc:spChg>
        <pc:spChg chg="mod topLvl">
          <ac:chgData name="Eldert Grootenboer" userId="3fe8758b2c2b58d2" providerId="LiveId" clId="{A299B12E-E556-4FD9-B950-379CF91CEAD0}" dt="2020-08-01T13:16:40.311" v="2560" actId="165"/>
          <ac:spMkLst>
            <pc:docMk/>
            <pc:sldMk cId="2996256721" sldId="2039"/>
            <ac:spMk id="12" creationId="{161E1FBA-148B-4466-B52E-540BA1A60860}"/>
          </ac:spMkLst>
        </pc:spChg>
        <pc:spChg chg="mod topLvl">
          <ac:chgData name="Eldert Grootenboer" userId="3fe8758b2c2b58d2" providerId="LiveId" clId="{A299B12E-E556-4FD9-B950-379CF91CEAD0}" dt="2020-08-01T13:16:40.311" v="2560" actId="165"/>
          <ac:spMkLst>
            <pc:docMk/>
            <pc:sldMk cId="2996256721" sldId="2039"/>
            <ac:spMk id="13" creationId="{7B450F8B-098A-4531-9BAC-9B0F797B6430}"/>
          </ac:spMkLst>
        </pc:spChg>
        <pc:spChg chg="mod topLvl">
          <ac:chgData name="Eldert Grootenboer" userId="3fe8758b2c2b58d2" providerId="LiveId" clId="{A299B12E-E556-4FD9-B950-379CF91CEAD0}" dt="2020-08-01T13:16:40.311" v="2560" actId="165"/>
          <ac:spMkLst>
            <pc:docMk/>
            <pc:sldMk cId="2996256721" sldId="2039"/>
            <ac:spMk id="14" creationId="{FBBE7CDD-4D69-4B65-BDAF-CF96709EDD6C}"/>
          </ac:spMkLst>
        </pc:spChg>
        <pc:spChg chg="mod topLvl">
          <ac:chgData name="Eldert Grootenboer" userId="3fe8758b2c2b58d2" providerId="LiveId" clId="{A299B12E-E556-4FD9-B950-379CF91CEAD0}" dt="2020-08-01T13:16:40.311" v="2560" actId="165"/>
          <ac:spMkLst>
            <pc:docMk/>
            <pc:sldMk cId="2996256721" sldId="2039"/>
            <ac:spMk id="15" creationId="{9F1A9331-20D1-426B-AE49-A4C82D570FB6}"/>
          </ac:spMkLst>
        </pc:spChg>
        <pc:spChg chg="mod topLvl">
          <ac:chgData name="Eldert Grootenboer" userId="3fe8758b2c2b58d2" providerId="LiveId" clId="{A299B12E-E556-4FD9-B950-379CF91CEAD0}" dt="2020-08-01T13:16:40.311" v="2560" actId="165"/>
          <ac:spMkLst>
            <pc:docMk/>
            <pc:sldMk cId="2996256721" sldId="2039"/>
            <ac:spMk id="16" creationId="{E78F6193-543F-445C-BFDC-C8E720B3C24D}"/>
          </ac:spMkLst>
        </pc:spChg>
        <pc:grpChg chg="del mod">
          <ac:chgData name="Eldert Grootenboer" userId="3fe8758b2c2b58d2" providerId="LiveId" clId="{A299B12E-E556-4FD9-B950-379CF91CEAD0}" dt="2020-08-01T13:16:40.311" v="2560" actId="165"/>
          <ac:grpSpMkLst>
            <pc:docMk/>
            <pc:sldMk cId="2996256721" sldId="2039"/>
            <ac:grpSpMk id="5" creationId="{D2EA7298-3DCA-4627-A223-E5BF17A63525}"/>
          </ac:grpSpMkLst>
        </pc:grpChg>
        <pc:graphicFrameChg chg="del mod">
          <ac:chgData name="Eldert Grootenboer" userId="3fe8758b2c2b58d2" providerId="LiveId" clId="{A299B12E-E556-4FD9-B950-379CF91CEAD0}" dt="2020-08-01T13:16:36.754" v="2559" actId="18245"/>
          <ac:graphicFrameMkLst>
            <pc:docMk/>
            <pc:sldMk cId="2996256721" sldId="2039"/>
            <ac:graphicFrameMk id="7" creationId="{DF32295D-7047-4CB4-969C-D1C856F88AE4}"/>
          </ac:graphicFrameMkLst>
        </pc:graphicFrameChg>
        <pc:picChg chg="add del">
          <ac:chgData name="Eldert Grootenboer" userId="3fe8758b2c2b58d2" providerId="LiveId" clId="{A299B12E-E556-4FD9-B950-379CF91CEAD0}" dt="2020-08-01T13:06:04.141" v="2426" actId="22"/>
          <ac:picMkLst>
            <pc:docMk/>
            <pc:sldMk cId="2996256721" sldId="2039"/>
            <ac:picMk id="3" creationId="{6428CEDF-EE88-4344-99F9-03C27E4032D5}"/>
          </ac:picMkLst>
        </pc:picChg>
        <pc:picChg chg="add">
          <ac:chgData name="Eldert Grootenboer" userId="3fe8758b2c2b58d2" providerId="LiveId" clId="{A299B12E-E556-4FD9-B950-379CF91CEAD0}" dt="2020-08-01T13:06:21.539" v="2430" actId="22"/>
          <ac:picMkLst>
            <pc:docMk/>
            <pc:sldMk cId="2996256721" sldId="2039"/>
            <ac:picMk id="4" creationId="{3570A28B-A8B8-4889-92C0-51139710C481}"/>
          </ac:picMkLst>
        </pc:picChg>
        <pc:picChg chg="del">
          <ac:chgData name="Eldert Grootenboer" userId="3fe8758b2c2b58d2" providerId="LiveId" clId="{A299B12E-E556-4FD9-B950-379CF91CEAD0}" dt="2020-08-01T13:06:02.287" v="2424" actId="478"/>
          <ac:picMkLst>
            <pc:docMk/>
            <pc:sldMk cId="2996256721" sldId="2039"/>
            <ac:picMk id="8" creationId="{7FD93F5C-9E18-48B1-BDCB-F10900AC26F9}"/>
          </ac:picMkLst>
        </pc:picChg>
      </pc:sldChg>
      <pc:sldChg chg="addSp delSp modSp new del mod modTransition modClrScheme chgLayout">
        <pc:chgData name="Eldert Grootenboer" userId="3fe8758b2c2b58d2" providerId="LiveId" clId="{A299B12E-E556-4FD9-B950-379CF91CEAD0}" dt="2020-08-01T13:00:14.860" v="2336" actId="680"/>
        <pc:sldMkLst>
          <pc:docMk/>
          <pc:sldMk cId="3958321881" sldId="2039"/>
        </pc:sldMkLst>
        <pc:spChg chg="add del">
          <ac:chgData name="Eldert Grootenboer" userId="3fe8758b2c2b58d2" providerId="LiveId" clId="{A299B12E-E556-4FD9-B950-379CF91CEAD0}" dt="2020-08-01T13:00:13.789" v="2334" actId="700"/>
          <ac:spMkLst>
            <pc:docMk/>
            <pc:sldMk cId="3958321881" sldId="2039"/>
            <ac:spMk id="2" creationId="{B877493B-C193-4740-8C11-1999C7B3238D}"/>
          </ac:spMkLst>
        </pc:spChg>
        <pc:spChg chg="add del">
          <ac:chgData name="Eldert Grootenboer" userId="3fe8758b2c2b58d2" providerId="LiveId" clId="{A299B12E-E556-4FD9-B950-379CF91CEAD0}" dt="2020-08-01T13:00:13.789" v="2334" actId="700"/>
          <ac:spMkLst>
            <pc:docMk/>
            <pc:sldMk cId="3958321881" sldId="2039"/>
            <ac:spMk id="3" creationId="{2D56594C-3038-4411-8579-F07006BC6549}"/>
          </ac:spMkLst>
        </pc:spChg>
        <pc:spChg chg="add del mod">
          <ac:chgData name="Eldert Grootenboer" userId="3fe8758b2c2b58d2" providerId="LiveId" clId="{A299B12E-E556-4FD9-B950-379CF91CEAD0}" dt="2020-08-01T12:56:25.625" v="2297"/>
          <ac:spMkLst>
            <pc:docMk/>
            <pc:sldMk cId="3958321881" sldId="2039"/>
            <ac:spMk id="4" creationId="{0A9522FD-94EB-4E56-A444-CB96F0837832}"/>
          </ac:spMkLst>
        </pc:spChg>
        <pc:spChg chg="add del mod">
          <ac:chgData name="Eldert Grootenboer" userId="3fe8758b2c2b58d2" providerId="LiveId" clId="{A299B12E-E556-4FD9-B950-379CF91CEAD0}" dt="2020-08-01T12:56:28.713" v="2299"/>
          <ac:spMkLst>
            <pc:docMk/>
            <pc:sldMk cId="3958321881" sldId="2039"/>
            <ac:spMk id="7" creationId="{97B29615-0018-4CFC-BEE1-EDFF41355944}"/>
          </ac:spMkLst>
        </pc:spChg>
        <pc:spChg chg="add del mod">
          <ac:chgData name="Eldert Grootenboer" userId="3fe8758b2c2b58d2" providerId="LiveId" clId="{A299B12E-E556-4FD9-B950-379CF91CEAD0}" dt="2020-08-01T13:00:14.284" v="2335"/>
          <ac:spMkLst>
            <pc:docMk/>
            <pc:sldMk cId="3958321881" sldId="2039"/>
            <ac:spMk id="10" creationId="{2441F943-92CB-4FAA-96EB-5AD37E8B835E}"/>
          </ac:spMkLst>
        </pc:spChg>
        <pc:graphicFrameChg chg="add del mod">
          <ac:chgData name="Eldert Grootenboer" userId="3fe8758b2c2b58d2" providerId="LiveId" clId="{A299B12E-E556-4FD9-B950-379CF91CEAD0}" dt="2020-08-01T12:56:25.625" v="2297"/>
          <ac:graphicFrameMkLst>
            <pc:docMk/>
            <pc:sldMk cId="3958321881" sldId="2039"/>
            <ac:graphicFrameMk id="6" creationId="{56DBE315-8B0C-418F-BCA9-6283D8AA2140}"/>
          </ac:graphicFrameMkLst>
        </pc:graphicFrameChg>
        <pc:graphicFrameChg chg="add del mod">
          <ac:chgData name="Eldert Grootenboer" userId="3fe8758b2c2b58d2" providerId="LiveId" clId="{A299B12E-E556-4FD9-B950-379CF91CEAD0}" dt="2020-08-01T12:56:28.713" v="2299"/>
          <ac:graphicFrameMkLst>
            <pc:docMk/>
            <pc:sldMk cId="3958321881" sldId="2039"/>
            <ac:graphicFrameMk id="9" creationId="{F0171A13-E779-4DC4-B23D-450180DBD13C}"/>
          </ac:graphicFrameMkLst>
        </pc:graphicFrameChg>
        <pc:graphicFrameChg chg="add del mod">
          <ac:chgData name="Eldert Grootenboer" userId="3fe8758b2c2b58d2" providerId="LiveId" clId="{A299B12E-E556-4FD9-B950-379CF91CEAD0}" dt="2020-08-01T13:00:14.284" v="2335"/>
          <ac:graphicFrameMkLst>
            <pc:docMk/>
            <pc:sldMk cId="3958321881" sldId="2039"/>
            <ac:graphicFrameMk id="12" creationId="{5BC37CE9-14FD-440F-A169-B7EBDF542F48}"/>
          </ac:graphicFrameMkLst>
        </pc:graphicFrameChg>
        <pc:picChg chg="add del mod">
          <ac:chgData name="Eldert Grootenboer" userId="3fe8758b2c2b58d2" providerId="LiveId" clId="{A299B12E-E556-4FD9-B950-379CF91CEAD0}" dt="2020-08-01T12:56:25.625" v="2297"/>
          <ac:picMkLst>
            <pc:docMk/>
            <pc:sldMk cId="3958321881" sldId="2039"/>
            <ac:picMk id="5" creationId="{D3D3273C-050D-483A-99C4-815E8F96D99C}"/>
          </ac:picMkLst>
        </pc:picChg>
        <pc:picChg chg="add del mod">
          <ac:chgData name="Eldert Grootenboer" userId="3fe8758b2c2b58d2" providerId="LiveId" clId="{A299B12E-E556-4FD9-B950-379CF91CEAD0}" dt="2020-08-01T12:56:28.713" v="2299"/>
          <ac:picMkLst>
            <pc:docMk/>
            <pc:sldMk cId="3958321881" sldId="2039"/>
            <ac:picMk id="8" creationId="{609780BD-F945-42BE-8374-91197475B179}"/>
          </ac:picMkLst>
        </pc:picChg>
        <pc:picChg chg="add del mod">
          <ac:chgData name="Eldert Grootenboer" userId="3fe8758b2c2b58d2" providerId="LiveId" clId="{A299B12E-E556-4FD9-B950-379CF91CEAD0}" dt="2020-08-01T13:00:14.284" v="2335"/>
          <ac:picMkLst>
            <pc:docMk/>
            <pc:sldMk cId="3958321881" sldId="2039"/>
            <ac:picMk id="11" creationId="{6CF4FE70-351F-4507-ABD7-F640F44B221D}"/>
          </ac:picMkLst>
        </pc:picChg>
        <pc:picChg chg="add del">
          <ac:chgData name="Eldert Grootenboer" userId="3fe8758b2c2b58d2" providerId="LiveId" clId="{A299B12E-E556-4FD9-B950-379CF91CEAD0}" dt="2020-08-01T12:59:58.392" v="2321"/>
          <ac:picMkLst>
            <pc:docMk/>
            <pc:sldMk cId="3958321881" sldId="2039"/>
            <ac:picMk id="13" creationId="{60072194-F079-4B4A-95A7-451B548698B5}"/>
          </ac:picMkLst>
        </pc:picChg>
      </pc:sldChg>
      <pc:sldChg chg="addSp modSp new del mod setBg setClrOvrMap">
        <pc:chgData name="Eldert Grootenboer" userId="3fe8758b2c2b58d2" providerId="LiveId" clId="{A299B12E-E556-4FD9-B950-379CF91CEAD0}" dt="2020-08-01T13:01:58.724" v="2388" actId="47"/>
        <pc:sldMkLst>
          <pc:docMk/>
          <pc:sldMk cId="4081590005" sldId="2039"/>
        </pc:sldMkLst>
        <pc:spChg chg="mod">
          <ac:chgData name="Eldert Grootenboer" userId="3fe8758b2c2b58d2" providerId="LiveId" clId="{A299B12E-E556-4FD9-B950-379CF91CEAD0}" dt="2020-08-01T13:01:41.360" v="2385" actId="26606"/>
          <ac:spMkLst>
            <pc:docMk/>
            <pc:sldMk cId="4081590005" sldId="2039"/>
            <ac:spMk id="2" creationId="{3C6BA967-F3BB-43E6-9E20-35B9C9476B3B}"/>
          </ac:spMkLst>
        </pc:spChg>
        <pc:spChg chg="mod ord">
          <ac:chgData name="Eldert Grootenboer" userId="3fe8758b2c2b58d2" providerId="LiveId" clId="{A299B12E-E556-4FD9-B950-379CF91CEAD0}" dt="2020-08-01T13:01:41.360" v="2385" actId="26606"/>
          <ac:spMkLst>
            <pc:docMk/>
            <pc:sldMk cId="4081590005" sldId="2039"/>
            <ac:spMk id="3" creationId="{32FBADD0-2436-46DB-BC6E-7BDBA928975E}"/>
          </ac:spMkLst>
        </pc:spChg>
        <pc:spChg chg="add">
          <ac:chgData name="Eldert Grootenboer" userId="3fe8758b2c2b58d2" providerId="LiveId" clId="{A299B12E-E556-4FD9-B950-379CF91CEAD0}" dt="2020-08-01T13:01:41.360" v="2385" actId="26606"/>
          <ac:spMkLst>
            <pc:docMk/>
            <pc:sldMk cId="4081590005" sldId="2039"/>
            <ac:spMk id="9" creationId="{357DD0D3-F869-46D0-944C-6EC60E19E351}"/>
          </ac:spMkLst>
        </pc:spChg>
        <pc:picChg chg="add mod">
          <ac:chgData name="Eldert Grootenboer" userId="3fe8758b2c2b58d2" providerId="LiveId" clId="{A299B12E-E556-4FD9-B950-379CF91CEAD0}" dt="2020-08-01T13:01:41.360" v="2385" actId="26606"/>
          <ac:picMkLst>
            <pc:docMk/>
            <pc:sldMk cId="4081590005" sldId="2039"/>
            <ac:picMk id="4" creationId="{4F81D163-AB88-4455-AC7B-167950505DEF}"/>
          </ac:picMkLst>
        </pc:picChg>
      </pc:sldChg>
      <pc:sldChg chg="addSp delSp modSp add mod modTransition modAnim">
        <pc:chgData name="Eldert Grootenboer" userId="3fe8758b2c2b58d2" providerId="LiveId" clId="{A299B12E-E556-4FD9-B950-379CF91CEAD0}" dt="2020-08-01T13:17:53.127" v="2574"/>
        <pc:sldMkLst>
          <pc:docMk/>
          <pc:sldMk cId="1539543739" sldId="2040"/>
        </pc:sldMkLst>
        <pc:spChg chg="mod">
          <ac:chgData name="Eldert Grootenboer" userId="3fe8758b2c2b58d2" providerId="LiveId" clId="{A299B12E-E556-4FD9-B950-379CF91CEAD0}" dt="2020-08-01T13:09:15.145" v="2498" actId="20577"/>
          <ac:spMkLst>
            <pc:docMk/>
            <pc:sldMk cId="1539543739" sldId="2040"/>
            <ac:spMk id="6" creationId="{454B929C-B2D7-43D6-A1FD-B6557DDD8E4C}"/>
          </ac:spMkLst>
        </pc:spChg>
        <pc:spChg chg="mod topLvl">
          <ac:chgData name="Eldert Grootenboer" userId="3fe8758b2c2b58d2" providerId="LiveId" clId="{A299B12E-E556-4FD9-B950-379CF91CEAD0}" dt="2020-08-01T13:17:33.556" v="2568" actId="165"/>
          <ac:spMkLst>
            <pc:docMk/>
            <pc:sldMk cId="1539543739" sldId="2040"/>
            <ac:spMk id="9" creationId="{3FEDAFB8-1EB6-4664-961D-B5A099B9E309}"/>
          </ac:spMkLst>
        </pc:spChg>
        <pc:spChg chg="mod topLvl">
          <ac:chgData name="Eldert Grootenboer" userId="3fe8758b2c2b58d2" providerId="LiveId" clId="{A299B12E-E556-4FD9-B950-379CF91CEAD0}" dt="2020-08-01T13:17:33.556" v="2568" actId="165"/>
          <ac:spMkLst>
            <pc:docMk/>
            <pc:sldMk cId="1539543739" sldId="2040"/>
            <ac:spMk id="10" creationId="{2E9A8A55-9DB7-4DB1-AC07-C86F3E1E0420}"/>
          </ac:spMkLst>
        </pc:spChg>
        <pc:spChg chg="mod topLvl">
          <ac:chgData name="Eldert Grootenboer" userId="3fe8758b2c2b58d2" providerId="LiveId" clId="{A299B12E-E556-4FD9-B950-379CF91CEAD0}" dt="2020-08-01T13:17:33.556" v="2568" actId="165"/>
          <ac:spMkLst>
            <pc:docMk/>
            <pc:sldMk cId="1539543739" sldId="2040"/>
            <ac:spMk id="11" creationId="{AE93180A-F4D2-4962-A4A1-358AB7D4AC30}"/>
          </ac:spMkLst>
        </pc:spChg>
        <pc:spChg chg="mod topLvl">
          <ac:chgData name="Eldert Grootenboer" userId="3fe8758b2c2b58d2" providerId="LiveId" clId="{A299B12E-E556-4FD9-B950-379CF91CEAD0}" dt="2020-08-01T13:17:33.556" v="2568" actId="165"/>
          <ac:spMkLst>
            <pc:docMk/>
            <pc:sldMk cId="1539543739" sldId="2040"/>
            <ac:spMk id="12" creationId="{DF080FEF-CE82-469F-AEB8-C2587247A61C}"/>
          </ac:spMkLst>
        </pc:spChg>
        <pc:spChg chg="mod topLvl">
          <ac:chgData name="Eldert Grootenboer" userId="3fe8758b2c2b58d2" providerId="LiveId" clId="{A299B12E-E556-4FD9-B950-379CF91CEAD0}" dt="2020-08-01T13:17:33.556" v="2568" actId="165"/>
          <ac:spMkLst>
            <pc:docMk/>
            <pc:sldMk cId="1539543739" sldId="2040"/>
            <ac:spMk id="13" creationId="{79B3C5CA-6FBE-4E18-965F-393638CB27B9}"/>
          </ac:spMkLst>
        </pc:spChg>
        <pc:spChg chg="mod topLvl">
          <ac:chgData name="Eldert Grootenboer" userId="3fe8758b2c2b58d2" providerId="LiveId" clId="{A299B12E-E556-4FD9-B950-379CF91CEAD0}" dt="2020-08-01T13:17:33.556" v="2568" actId="165"/>
          <ac:spMkLst>
            <pc:docMk/>
            <pc:sldMk cId="1539543739" sldId="2040"/>
            <ac:spMk id="14" creationId="{3E0185AF-84F8-4ED6-B749-5605437E32B5}"/>
          </ac:spMkLst>
        </pc:spChg>
        <pc:grpChg chg="del mod">
          <ac:chgData name="Eldert Grootenboer" userId="3fe8758b2c2b58d2" providerId="LiveId" clId="{A299B12E-E556-4FD9-B950-379CF91CEAD0}" dt="2020-08-01T13:17:33.556" v="2568" actId="165"/>
          <ac:grpSpMkLst>
            <pc:docMk/>
            <pc:sldMk cId="1539543739" sldId="2040"/>
            <ac:grpSpMk id="3" creationId="{47177674-874A-4E6F-B398-3A31C33C018C}"/>
          </ac:grpSpMkLst>
        </pc:grpChg>
        <pc:graphicFrameChg chg="del mod">
          <ac:chgData name="Eldert Grootenboer" userId="3fe8758b2c2b58d2" providerId="LiveId" clId="{A299B12E-E556-4FD9-B950-379CF91CEAD0}" dt="2020-08-01T13:17:29.633" v="2567" actId="18245"/>
          <ac:graphicFrameMkLst>
            <pc:docMk/>
            <pc:sldMk cId="1539543739" sldId="2040"/>
            <ac:graphicFrameMk id="7" creationId="{DF32295D-7047-4CB4-969C-D1C856F88AE4}"/>
          </ac:graphicFrameMkLst>
        </pc:graphicFrameChg>
        <pc:picChg chg="add">
          <ac:chgData name="Eldert Grootenboer" userId="3fe8758b2c2b58d2" providerId="LiveId" clId="{A299B12E-E556-4FD9-B950-379CF91CEAD0}" dt="2020-08-01T13:10:05.447" v="2506" actId="22"/>
          <ac:picMkLst>
            <pc:docMk/>
            <pc:sldMk cId="1539543739" sldId="2040"/>
            <ac:picMk id="2" creationId="{92985139-219F-4861-B9C0-58FDC889421F}"/>
          </ac:picMkLst>
        </pc:picChg>
        <pc:picChg chg="del">
          <ac:chgData name="Eldert Grootenboer" userId="3fe8758b2c2b58d2" providerId="LiveId" clId="{A299B12E-E556-4FD9-B950-379CF91CEAD0}" dt="2020-08-01T13:10:04.951" v="2505" actId="478"/>
          <ac:picMkLst>
            <pc:docMk/>
            <pc:sldMk cId="1539543739" sldId="2040"/>
            <ac:picMk id="4" creationId="{3570A28B-A8B8-4889-92C0-51139710C481}"/>
          </ac:picMkLst>
        </pc:picChg>
        <pc:picChg chg="add mod">
          <ac:chgData name="Eldert Grootenboer" userId="3fe8758b2c2b58d2" providerId="LiveId" clId="{A299B12E-E556-4FD9-B950-379CF91CEAD0}" dt="2020-08-01T13:09:43.339" v="2500"/>
          <ac:picMkLst>
            <pc:docMk/>
            <pc:sldMk cId="1539543739" sldId="2040"/>
            <ac:picMk id="5" creationId="{37D24BCF-FD8F-4B3A-92B7-552F9F724B04}"/>
          </ac:picMkLst>
        </pc:picChg>
      </pc:sldChg>
      <pc:sldChg chg="addSp delSp modSp add del mod setBg setClrOvrMap">
        <pc:chgData name="Eldert Grootenboer" userId="3fe8758b2c2b58d2" providerId="LiveId" clId="{A299B12E-E556-4FD9-B950-379CF91CEAD0}" dt="2020-08-01T13:10:50.748" v="2510" actId="47"/>
        <pc:sldMkLst>
          <pc:docMk/>
          <pc:sldMk cId="1404750787" sldId="2041"/>
        </pc:sldMkLst>
        <pc:spChg chg="mod ord">
          <ac:chgData name="Eldert Grootenboer" userId="3fe8758b2c2b58d2" providerId="LiveId" clId="{A299B12E-E556-4FD9-B950-379CF91CEAD0}" dt="2020-08-01T13:10:26.287" v="2507" actId="26606"/>
          <ac:spMkLst>
            <pc:docMk/>
            <pc:sldMk cId="1404750787" sldId="2041"/>
            <ac:spMk id="6" creationId="{454B929C-B2D7-43D6-A1FD-B6557DDD8E4C}"/>
          </ac:spMkLst>
        </pc:spChg>
        <pc:spChg chg="add del">
          <ac:chgData name="Eldert Grootenboer" userId="3fe8758b2c2b58d2" providerId="LiveId" clId="{A299B12E-E556-4FD9-B950-379CF91CEAD0}" dt="2020-08-01T13:10:26.287" v="2507" actId="26606"/>
          <ac:spMkLst>
            <pc:docMk/>
            <pc:sldMk cId="1404750787" sldId="2041"/>
            <ac:spMk id="12" creationId="{357DD0D3-F869-46D0-944C-6EC60E19E351}"/>
          </ac:spMkLst>
        </pc:spChg>
        <pc:spChg chg="add">
          <ac:chgData name="Eldert Grootenboer" userId="3fe8758b2c2b58d2" providerId="LiveId" clId="{A299B12E-E556-4FD9-B950-379CF91CEAD0}" dt="2020-08-01T13:10:26.287" v="2507" actId="26606"/>
          <ac:spMkLst>
            <pc:docMk/>
            <pc:sldMk cId="1404750787" sldId="2041"/>
            <ac:spMk id="17" creationId="{C7D023E4-8DE1-436E-9847-ED6A4B4B04FD}"/>
          </ac:spMkLst>
        </pc:spChg>
        <pc:spChg chg="add">
          <ac:chgData name="Eldert Grootenboer" userId="3fe8758b2c2b58d2" providerId="LiveId" clId="{A299B12E-E556-4FD9-B950-379CF91CEAD0}" dt="2020-08-01T13:10:26.287" v="2507" actId="26606"/>
          <ac:spMkLst>
            <pc:docMk/>
            <pc:sldMk cId="1404750787" sldId="2041"/>
            <ac:spMk id="19" creationId="{8B2B1708-8CE4-4A20-94F5-55118AE2CBD7}"/>
          </ac:spMkLst>
        </pc:spChg>
        <pc:spChg chg="add">
          <ac:chgData name="Eldert Grootenboer" userId="3fe8758b2c2b58d2" providerId="LiveId" clId="{A299B12E-E556-4FD9-B950-379CF91CEAD0}" dt="2020-08-01T13:10:26.287" v="2507" actId="26606"/>
          <ac:spMkLst>
            <pc:docMk/>
            <pc:sldMk cId="1404750787" sldId="2041"/>
            <ac:spMk id="21" creationId="{8B4AF456-0671-432E-AD5B-FFAF8D6461E7}"/>
          </ac:spMkLst>
        </pc:spChg>
        <pc:grpChg chg="add">
          <ac:chgData name="Eldert Grootenboer" userId="3fe8758b2c2b58d2" providerId="LiveId" clId="{A299B12E-E556-4FD9-B950-379CF91CEAD0}" dt="2020-08-01T13:10:26.287" v="2507" actId="26606"/>
          <ac:grpSpMkLst>
            <pc:docMk/>
            <pc:sldMk cId="1404750787" sldId="2041"/>
            <ac:grpSpMk id="23" creationId="{43F5E015-E085-4624-B431-B42414448684}"/>
          </ac:grpSpMkLst>
        </pc:grpChg>
        <pc:graphicFrameChg chg="add del mod">
          <ac:chgData name="Eldert Grootenboer" userId="3fe8758b2c2b58d2" providerId="LiveId" clId="{A299B12E-E556-4FD9-B950-379CF91CEAD0}" dt="2020-08-01T13:10:49.003" v="2509" actId="12084"/>
          <ac:graphicFrameMkLst>
            <pc:docMk/>
            <pc:sldMk cId="1404750787" sldId="2041"/>
            <ac:graphicFrameMk id="2" creationId="{7820F1CC-3DA9-4CAB-B7F9-71BA49442450}"/>
          </ac:graphicFrameMkLst>
        </pc:graphicFrameChg>
        <pc:graphicFrameChg chg="mod ord modGraphic">
          <ac:chgData name="Eldert Grootenboer" userId="3fe8758b2c2b58d2" providerId="LiveId" clId="{A299B12E-E556-4FD9-B950-379CF91CEAD0}" dt="2020-08-01T13:10:26.287" v="2507" actId="26606"/>
          <ac:graphicFrameMkLst>
            <pc:docMk/>
            <pc:sldMk cId="1404750787" sldId="2041"/>
            <ac:graphicFrameMk id="7" creationId="{DF32295D-7047-4CB4-969C-D1C856F88AE4}"/>
          </ac:graphicFrameMkLst>
        </pc:graphicFrameChg>
        <pc:picChg chg="del">
          <ac:chgData name="Eldert Grootenboer" userId="3fe8758b2c2b58d2" providerId="LiveId" clId="{A299B12E-E556-4FD9-B950-379CF91CEAD0}" dt="2020-08-01T13:09:51.367" v="2502" actId="478"/>
          <ac:picMkLst>
            <pc:docMk/>
            <pc:sldMk cId="1404750787" sldId="2041"/>
            <ac:picMk id="4" creationId="{3570A28B-A8B8-4889-92C0-51139710C481}"/>
          </ac:picMkLst>
        </pc:picChg>
        <pc:picChg chg="add del mod">
          <ac:chgData name="Eldert Grootenboer" userId="3fe8758b2c2b58d2" providerId="LiveId" clId="{A299B12E-E556-4FD9-B950-379CF91CEAD0}" dt="2020-08-01T13:10:49.003" v="2509" actId="12084"/>
          <ac:picMkLst>
            <pc:docMk/>
            <pc:sldMk cId="1404750787" sldId="2041"/>
            <ac:picMk id="5" creationId="{2A9306E3-12AF-4E58-9377-A9056320E9DA}"/>
          </ac:picMkLst>
        </pc:picChg>
      </pc:sldChg>
      <pc:sldChg chg="addSp delSp modSp add mod modTransition modAnim">
        <pc:chgData name="Eldert Grootenboer" userId="3fe8758b2c2b58d2" providerId="LiveId" clId="{A299B12E-E556-4FD9-B950-379CF91CEAD0}" dt="2020-08-08T11:58:09.465" v="2926" actId="20577"/>
        <pc:sldMkLst>
          <pc:docMk/>
          <pc:sldMk cId="3096318343" sldId="2041"/>
        </pc:sldMkLst>
        <pc:spChg chg="mod">
          <ac:chgData name="Eldert Grootenboer" userId="3fe8758b2c2b58d2" providerId="LiveId" clId="{A299B12E-E556-4FD9-B950-379CF91CEAD0}" dt="2020-08-01T13:18:12.594" v="2583" actId="20577"/>
          <ac:spMkLst>
            <pc:docMk/>
            <pc:sldMk cId="3096318343" sldId="2041"/>
            <ac:spMk id="6" creationId="{454B929C-B2D7-43D6-A1FD-B6557DDD8E4C}"/>
          </ac:spMkLst>
        </pc:spChg>
        <pc:spChg chg="mod topLvl">
          <ac:chgData name="Eldert Grootenboer" userId="3fe8758b2c2b58d2" providerId="LiveId" clId="{A299B12E-E556-4FD9-B950-379CF91CEAD0}" dt="2020-08-01T13:20:41.681" v="2593" actId="165"/>
          <ac:spMkLst>
            <pc:docMk/>
            <pc:sldMk cId="3096318343" sldId="2041"/>
            <ac:spMk id="8" creationId="{D8EAA90A-85FD-4C5C-A765-14DA0454E165}"/>
          </ac:spMkLst>
        </pc:spChg>
        <pc:spChg chg="mod topLvl">
          <ac:chgData name="Eldert Grootenboer" userId="3fe8758b2c2b58d2" providerId="LiveId" clId="{A299B12E-E556-4FD9-B950-379CF91CEAD0}" dt="2020-08-08T11:58:09.465" v="2926" actId="20577"/>
          <ac:spMkLst>
            <pc:docMk/>
            <pc:sldMk cId="3096318343" sldId="2041"/>
            <ac:spMk id="9" creationId="{FC997E44-FAAB-4D10-811C-E727DC078B24}"/>
          </ac:spMkLst>
        </pc:spChg>
        <pc:spChg chg="mod topLvl">
          <ac:chgData name="Eldert Grootenboer" userId="3fe8758b2c2b58d2" providerId="LiveId" clId="{A299B12E-E556-4FD9-B950-379CF91CEAD0}" dt="2020-08-08T11:57:57.703" v="2925" actId="20577"/>
          <ac:spMkLst>
            <pc:docMk/>
            <pc:sldMk cId="3096318343" sldId="2041"/>
            <ac:spMk id="10" creationId="{01046F36-FEEF-4F23-A5FA-D59FA84D403F}"/>
          </ac:spMkLst>
        </pc:spChg>
        <pc:spChg chg="mod topLvl">
          <ac:chgData name="Eldert Grootenboer" userId="3fe8758b2c2b58d2" providerId="LiveId" clId="{A299B12E-E556-4FD9-B950-379CF91CEAD0}" dt="2020-08-01T13:20:41.681" v="2593" actId="165"/>
          <ac:spMkLst>
            <pc:docMk/>
            <pc:sldMk cId="3096318343" sldId="2041"/>
            <ac:spMk id="11" creationId="{43A62190-12F8-471A-A3BE-32368C20AF8E}"/>
          </ac:spMkLst>
        </pc:spChg>
        <pc:spChg chg="mod topLvl">
          <ac:chgData name="Eldert Grootenboer" userId="3fe8758b2c2b58d2" providerId="LiveId" clId="{A299B12E-E556-4FD9-B950-379CF91CEAD0}" dt="2020-08-01T13:20:41.681" v="2593" actId="165"/>
          <ac:spMkLst>
            <pc:docMk/>
            <pc:sldMk cId="3096318343" sldId="2041"/>
            <ac:spMk id="12" creationId="{FAD72A20-EE96-4BC1-8835-81706D3B916F}"/>
          </ac:spMkLst>
        </pc:spChg>
        <pc:spChg chg="mod topLvl">
          <ac:chgData name="Eldert Grootenboer" userId="3fe8758b2c2b58d2" providerId="LiveId" clId="{A299B12E-E556-4FD9-B950-379CF91CEAD0}" dt="2020-08-01T13:20:41.681" v="2593" actId="165"/>
          <ac:spMkLst>
            <pc:docMk/>
            <pc:sldMk cId="3096318343" sldId="2041"/>
            <ac:spMk id="13" creationId="{3390F979-3634-4AD2-96F4-5EE420CA34E3}"/>
          </ac:spMkLst>
        </pc:spChg>
        <pc:grpChg chg="del mod">
          <ac:chgData name="Eldert Grootenboer" userId="3fe8758b2c2b58d2" providerId="LiveId" clId="{A299B12E-E556-4FD9-B950-379CF91CEAD0}" dt="2020-08-01T13:20:41.681" v="2593" actId="165"/>
          <ac:grpSpMkLst>
            <pc:docMk/>
            <pc:sldMk cId="3096318343" sldId="2041"/>
            <ac:grpSpMk id="4" creationId="{8B392182-01E5-4B41-B14D-CE5F7A5510AB}"/>
          </ac:grpSpMkLst>
        </pc:grpChg>
        <pc:graphicFrameChg chg="del mod">
          <ac:chgData name="Eldert Grootenboer" userId="3fe8758b2c2b58d2" providerId="LiveId" clId="{A299B12E-E556-4FD9-B950-379CF91CEAD0}" dt="2020-08-01T13:20:38.308" v="2592" actId="18245"/>
          <ac:graphicFrameMkLst>
            <pc:docMk/>
            <pc:sldMk cId="3096318343" sldId="2041"/>
            <ac:graphicFrameMk id="7" creationId="{DF32295D-7047-4CB4-969C-D1C856F88AE4}"/>
          </ac:graphicFrameMkLst>
        </pc:graphicFrameChg>
        <pc:picChg chg="del">
          <ac:chgData name="Eldert Grootenboer" userId="3fe8758b2c2b58d2" providerId="LiveId" clId="{A299B12E-E556-4FD9-B950-379CF91CEAD0}" dt="2020-08-01T13:20:09.898" v="2589" actId="478"/>
          <ac:picMkLst>
            <pc:docMk/>
            <pc:sldMk cId="3096318343" sldId="2041"/>
            <ac:picMk id="2" creationId="{92985139-219F-4861-B9C0-58FDC889421F}"/>
          </ac:picMkLst>
        </pc:picChg>
        <pc:picChg chg="add mod">
          <ac:chgData name="Eldert Grootenboer" userId="3fe8758b2c2b58d2" providerId="LiveId" clId="{A299B12E-E556-4FD9-B950-379CF91CEAD0}" dt="2020-08-01T13:20:17.522" v="2590" actId="1076"/>
          <ac:picMkLst>
            <pc:docMk/>
            <pc:sldMk cId="3096318343" sldId="2041"/>
            <ac:picMk id="3" creationId="{D85C72BC-9C98-48AC-B2AB-A3AA17B10666}"/>
          </ac:picMkLst>
        </pc:picChg>
      </pc:sldChg>
      <pc:sldChg chg="addSp delSp modSp add del mod setBg setClrOvrMap">
        <pc:chgData name="Eldert Grootenboer" userId="3fe8758b2c2b58d2" providerId="LiveId" clId="{A299B12E-E556-4FD9-B950-379CF91CEAD0}" dt="2020-08-01T13:20:21.649" v="2591" actId="47"/>
        <pc:sldMkLst>
          <pc:docMk/>
          <pc:sldMk cId="1254737660" sldId="2042"/>
        </pc:sldMkLst>
        <pc:spChg chg="mod">
          <ac:chgData name="Eldert Grootenboer" userId="3fe8758b2c2b58d2" providerId="LiveId" clId="{A299B12E-E556-4FD9-B950-379CF91CEAD0}" dt="2020-08-01T13:20:00.132" v="2587" actId="26606"/>
          <ac:spMkLst>
            <pc:docMk/>
            <pc:sldMk cId="1254737660" sldId="2042"/>
            <ac:spMk id="6" creationId="{454B929C-B2D7-43D6-A1FD-B6557DDD8E4C}"/>
          </ac:spMkLst>
        </pc:spChg>
        <pc:spChg chg="add">
          <ac:chgData name="Eldert Grootenboer" userId="3fe8758b2c2b58d2" providerId="LiveId" clId="{A299B12E-E556-4FD9-B950-379CF91CEAD0}" dt="2020-08-01T13:20:00.132" v="2587" actId="26606"/>
          <ac:spMkLst>
            <pc:docMk/>
            <pc:sldMk cId="1254737660" sldId="2042"/>
            <ac:spMk id="71" creationId="{357DD0D3-F869-46D0-944C-6EC60E19E351}"/>
          </ac:spMkLst>
        </pc:spChg>
        <pc:graphicFrameChg chg="mod ord modGraphic">
          <ac:chgData name="Eldert Grootenboer" userId="3fe8758b2c2b58d2" providerId="LiveId" clId="{A299B12E-E556-4FD9-B950-379CF91CEAD0}" dt="2020-08-01T13:20:00.132" v="2587" actId="26606"/>
          <ac:graphicFrameMkLst>
            <pc:docMk/>
            <pc:sldMk cId="1254737660" sldId="2042"/>
            <ac:graphicFrameMk id="7" creationId="{DF32295D-7047-4CB4-969C-D1C856F88AE4}"/>
          </ac:graphicFrameMkLst>
        </pc:graphicFrameChg>
        <pc:picChg chg="del">
          <ac:chgData name="Eldert Grootenboer" userId="3fe8758b2c2b58d2" providerId="LiveId" clId="{A299B12E-E556-4FD9-B950-379CF91CEAD0}" dt="2020-08-01T13:19:54.738" v="2585" actId="478"/>
          <ac:picMkLst>
            <pc:docMk/>
            <pc:sldMk cId="1254737660" sldId="2042"/>
            <ac:picMk id="2" creationId="{92985139-219F-4861-B9C0-58FDC889421F}"/>
          </ac:picMkLst>
        </pc:picChg>
        <pc:picChg chg="add mod">
          <ac:chgData name="Eldert Grootenboer" userId="3fe8758b2c2b58d2" providerId="LiveId" clId="{A299B12E-E556-4FD9-B950-379CF91CEAD0}" dt="2020-08-01T13:20:00.132" v="2587" actId="26606"/>
          <ac:picMkLst>
            <pc:docMk/>
            <pc:sldMk cId="1254737660" sldId="2042"/>
            <ac:picMk id="8194" creationId="{FE0D9E57-D980-46CA-9704-7445AF9E042F}"/>
          </ac:picMkLst>
        </pc:picChg>
      </pc:sldChg>
      <pc:sldChg chg="add">
        <pc:chgData name="Eldert Grootenboer" userId="3fe8758b2c2b58d2" providerId="LiveId" clId="{A299B12E-E556-4FD9-B950-379CF91CEAD0}" dt="2020-08-08T09:47:00.973" v="2861"/>
        <pc:sldMkLst>
          <pc:docMk/>
          <pc:sldMk cId="1511581507" sldId="2042"/>
        </pc:sldMkLst>
      </pc:sldChg>
      <pc:sldChg chg="addSp delSp modSp add del mod ord setBg delDesignElem">
        <pc:chgData name="Eldert Grootenboer" userId="3fe8758b2c2b58d2" providerId="LiveId" clId="{A299B12E-E556-4FD9-B950-379CF91CEAD0}" dt="2020-08-12T09:07:51.660" v="3052"/>
        <pc:sldMkLst>
          <pc:docMk/>
          <pc:sldMk cId="262328907" sldId="2043"/>
        </pc:sldMkLst>
        <pc:spChg chg="add del mod">
          <ac:chgData name="Eldert Grootenboer" userId="3fe8758b2c2b58d2" providerId="LiveId" clId="{A299B12E-E556-4FD9-B950-379CF91CEAD0}" dt="2020-08-12T09:07:48.533" v="3048"/>
          <ac:spMkLst>
            <pc:docMk/>
            <pc:sldMk cId="262328907" sldId="2043"/>
            <ac:spMk id="2" creationId="{F1F61FA7-CA8E-4F09-AD70-24289EAF6566}"/>
          </ac:spMkLst>
        </pc:spChg>
        <pc:spChg chg="add del mod">
          <ac:chgData name="Eldert Grootenboer" userId="3fe8758b2c2b58d2" providerId="LiveId" clId="{A299B12E-E556-4FD9-B950-379CF91CEAD0}" dt="2020-08-12T09:07:44.868" v="3044" actId="478"/>
          <ac:spMkLst>
            <pc:docMk/>
            <pc:sldMk cId="262328907" sldId="2043"/>
            <ac:spMk id="5" creationId="{D5BB17C5-A1FA-4738-B088-595211648165}"/>
          </ac:spMkLst>
        </pc:spChg>
        <pc:spChg chg="add del mod">
          <ac:chgData name="Eldert Grootenboer" userId="3fe8758b2c2b58d2" providerId="LiveId" clId="{A299B12E-E556-4FD9-B950-379CF91CEAD0}" dt="2020-08-12T09:07:19.933" v="3034"/>
          <ac:spMkLst>
            <pc:docMk/>
            <pc:sldMk cId="262328907" sldId="2043"/>
            <ac:spMk id="10" creationId="{84839183-BD8F-4FA5-A54A-76BAC353B67D}"/>
          </ac:spMkLst>
        </pc:spChg>
        <pc:spChg chg="add del mod">
          <ac:chgData name="Eldert Grootenboer" userId="3fe8758b2c2b58d2" providerId="LiveId" clId="{A299B12E-E556-4FD9-B950-379CF91CEAD0}" dt="2020-08-12T09:07:44.166" v="3043"/>
          <ac:spMkLst>
            <pc:docMk/>
            <pc:sldMk cId="262328907" sldId="2043"/>
            <ac:spMk id="11" creationId="{2963744E-63A5-4662-A4DB-326E3CB07553}"/>
          </ac:spMkLst>
        </pc:spChg>
        <pc:spChg chg="add del">
          <ac:chgData name="Eldert Grootenboer" userId="3fe8758b2c2b58d2" providerId="LiveId" clId="{A299B12E-E556-4FD9-B950-379CF91CEAD0}" dt="2020-08-12T09:07:51.660" v="3052"/>
          <ac:spMkLst>
            <pc:docMk/>
            <pc:sldMk cId="262328907" sldId="2043"/>
            <ac:spMk id="12" creationId="{B26D9126-4D1A-435C-92FD-2EFD34104B27}"/>
          </ac:spMkLst>
        </pc:spChg>
        <pc:spChg chg="add del">
          <ac:chgData name="Eldert Grootenboer" userId="3fe8758b2c2b58d2" providerId="LiveId" clId="{A299B12E-E556-4FD9-B950-379CF91CEAD0}" dt="2020-08-12T09:07:51.660" v="3052"/>
          <ac:spMkLst>
            <pc:docMk/>
            <pc:sldMk cId="262328907" sldId="2043"/>
            <ac:spMk id="14" creationId="{8A177BCC-4208-4795-8572-4D623BA1E2A0}"/>
          </ac:spMkLst>
        </pc:spChg>
        <pc:picChg chg="add del">
          <ac:chgData name="Eldert Grootenboer" userId="3fe8758b2c2b58d2" providerId="LiveId" clId="{A299B12E-E556-4FD9-B950-379CF91CEAD0}" dt="2020-08-12T09:07:50.093" v="3050" actId="478"/>
          <ac:picMkLst>
            <pc:docMk/>
            <pc:sldMk cId="262328907" sldId="2043"/>
            <ac:picMk id="4" creationId="{C54CA853-59E8-4245-B838-ADB3B338668A}"/>
          </ac:picMkLst>
        </pc:picChg>
        <pc:picChg chg="mod">
          <ac:chgData name="Eldert Grootenboer" userId="3fe8758b2c2b58d2" providerId="LiveId" clId="{A299B12E-E556-4FD9-B950-379CF91CEAD0}" dt="2020-08-12T09:07:49.326" v="3049" actId="14100"/>
          <ac:picMkLst>
            <pc:docMk/>
            <pc:sldMk cId="262328907" sldId="2043"/>
            <ac:picMk id="6" creationId="{D69867C0-E5C5-4FFB-B907-B511F4A1E609}"/>
          </ac:picMkLst>
        </pc:picChg>
        <pc:picChg chg="add del">
          <ac:chgData name="Eldert Grootenboer" userId="3fe8758b2c2b58d2" providerId="LiveId" clId="{A299B12E-E556-4FD9-B950-379CF91CEAD0}" dt="2020-08-12T09:07:26.125" v="3037" actId="478"/>
          <ac:picMkLst>
            <pc:docMk/>
            <pc:sldMk cId="262328907" sldId="2043"/>
            <ac:picMk id="8" creationId="{5148A855-C4A5-4CD5-8142-6C5473B9872A}"/>
          </ac:picMkLst>
        </pc:picChg>
      </pc:sldChg>
      <pc:sldChg chg="add del modTransition">
        <pc:chgData name="Eldert Grootenboer" userId="3fe8758b2c2b58d2" providerId="LiveId" clId="{A299B12E-E556-4FD9-B950-379CF91CEAD0}" dt="2020-08-01T10:54:00.225" v="1167"/>
        <pc:sldMkLst>
          <pc:docMk/>
          <pc:sldMk cId="2291144949" sldId="2076137412"/>
        </pc:sldMkLst>
      </pc:sldChg>
      <pc:sldMasterChg chg="del delSldLayout">
        <pc:chgData name="Eldert Grootenboer" userId="3fe8758b2c2b58d2" providerId="LiveId" clId="{A299B12E-E556-4FD9-B950-379CF91CEAD0}" dt="2020-07-31T12:57:49.459" v="89" actId="2696"/>
        <pc:sldMasterMkLst>
          <pc:docMk/>
          <pc:sldMasterMk cId="3691047905" sldId="2147483648"/>
        </pc:sldMasterMkLst>
        <pc:sldLayoutChg chg="del">
          <pc:chgData name="Eldert Grootenboer" userId="3fe8758b2c2b58d2" providerId="LiveId" clId="{A299B12E-E556-4FD9-B950-379CF91CEAD0}" dt="2020-07-31T12:57:49.412" v="78" actId="2696"/>
          <pc:sldLayoutMkLst>
            <pc:docMk/>
            <pc:sldMasterMk cId="3691047905" sldId="2147483648"/>
            <pc:sldLayoutMk cId="1691438252" sldId="2147483649"/>
          </pc:sldLayoutMkLst>
        </pc:sldLayoutChg>
        <pc:sldLayoutChg chg="del">
          <pc:chgData name="Eldert Grootenboer" userId="3fe8758b2c2b58d2" providerId="LiveId" clId="{A299B12E-E556-4FD9-B950-379CF91CEAD0}" dt="2020-07-31T12:57:49.416" v="79" actId="2696"/>
          <pc:sldLayoutMkLst>
            <pc:docMk/>
            <pc:sldMasterMk cId="3691047905" sldId="2147483648"/>
            <pc:sldLayoutMk cId="1168232227" sldId="2147483650"/>
          </pc:sldLayoutMkLst>
        </pc:sldLayoutChg>
        <pc:sldLayoutChg chg="del">
          <pc:chgData name="Eldert Grootenboer" userId="3fe8758b2c2b58d2" providerId="LiveId" clId="{A299B12E-E556-4FD9-B950-379CF91CEAD0}" dt="2020-07-31T12:57:49.421" v="80" actId="2696"/>
          <pc:sldLayoutMkLst>
            <pc:docMk/>
            <pc:sldMasterMk cId="3691047905" sldId="2147483648"/>
            <pc:sldLayoutMk cId="4048714419" sldId="2147483651"/>
          </pc:sldLayoutMkLst>
        </pc:sldLayoutChg>
        <pc:sldLayoutChg chg="del">
          <pc:chgData name="Eldert Grootenboer" userId="3fe8758b2c2b58d2" providerId="LiveId" clId="{A299B12E-E556-4FD9-B950-379CF91CEAD0}" dt="2020-07-31T12:57:49.425" v="81" actId="2696"/>
          <pc:sldLayoutMkLst>
            <pc:docMk/>
            <pc:sldMasterMk cId="3691047905" sldId="2147483648"/>
            <pc:sldLayoutMk cId="3674049067" sldId="2147483652"/>
          </pc:sldLayoutMkLst>
        </pc:sldLayoutChg>
        <pc:sldLayoutChg chg="del">
          <pc:chgData name="Eldert Grootenboer" userId="3fe8758b2c2b58d2" providerId="LiveId" clId="{A299B12E-E556-4FD9-B950-379CF91CEAD0}" dt="2020-07-31T12:57:49.428" v="82" actId="2696"/>
          <pc:sldLayoutMkLst>
            <pc:docMk/>
            <pc:sldMasterMk cId="3691047905" sldId="2147483648"/>
            <pc:sldLayoutMk cId="2833915972" sldId="2147483653"/>
          </pc:sldLayoutMkLst>
        </pc:sldLayoutChg>
        <pc:sldLayoutChg chg="del">
          <pc:chgData name="Eldert Grootenboer" userId="3fe8758b2c2b58d2" providerId="LiveId" clId="{A299B12E-E556-4FD9-B950-379CF91CEAD0}" dt="2020-07-31T12:57:49.431" v="83" actId="2696"/>
          <pc:sldLayoutMkLst>
            <pc:docMk/>
            <pc:sldMasterMk cId="3691047905" sldId="2147483648"/>
            <pc:sldLayoutMk cId="1542807387" sldId="2147483654"/>
          </pc:sldLayoutMkLst>
        </pc:sldLayoutChg>
        <pc:sldLayoutChg chg="del">
          <pc:chgData name="Eldert Grootenboer" userId="3fe8758b2c2b58d2" providerId="LiveId" clId="{A299B12E-E556-4FD9-B950-379CF91CEAD0}" dt="2020-07-31T12:57:49.436" v="84" actId="2696"/>
          <pc:sldLayoutMkLst>
            <pc:docMk/>
            <pc:sldMasterMk cId="3691047905" sldId="2147483648"/>
            <pc:sldLayoutMk cId="3202897968" sldId="2147483655"/>
          </pc:sldLayoutMkLst>
        </pc:sldLayoutChg>
        <pc:sldLayoutChg chg="del">
          <pc:chgData name="Eldert Grootenboer" userId="3fe8758b2c2b58d2" providerId="LiveId" clId="{A299B12E-E556-4FD9-B950-379CF91CEAD0}" dt="2020-07-31T12:57:49.440" v="85" actId="2696"/>
          <pc:sldLayoutMkLst>
            <pc:docMk/>
            <pc:sldMasterMk cId="3691047905" sldId="2147483648"/>
            <pc:sldLayoutMk cId="3259655245" sldId="2147483656"/>
          </pc:sldLayoutMkLst>
        </pc:sldLayoutChg>
        <pc:sldLayoutChg chg="del">
          <pc:chgData name="Eldert Grootenboer" userId="3fe8758b2c2b58d2" providerId="LiveId" clId="{A299B12E-E556-4FD9-B950-379CF91CEAD0}" dt="2020-07-31T12:57:49.444" v="86" actId="2696"/>
          <pc:sldLayoutMkLst>
            <pc:docMk/>
            <pc:sldMasterMk cId="3691047905" sldId="2147483648"/>
            <pc:sldLayoutMk cId="2969981799" sldId="2147483657"/>
          </pc:sldLayoutMkLst>
        </pc:sldLayoutChg>
        <pc:sldLayoutChg chg="del">
          <pc:chgData name="Eldert Grootenboer" userId="3fe8758b2c2b58d2" providerId="LiveId" clId="{A299B12E-E556-4FD9-B950-379CF91CEAD0}" dt="2020-07-31T12:57:49.448" v="87" actId="2696"/>
          <pc:sldLayoutMkLst>
            <pc:docMk/>
            <pc:sldMasterMk cId="3691047905" sldId="2147483648"/>
            <pc:sldLayoutMk cId="3397003947" sldId="2147483658"/>
          </pc:sldLayoutMkLst>
        </pc:sldLayoutChg>
        <pc:sldLayoutChg chg="del">
          <pc:chgData name="Eldert Grootenboer" userId="3fe8758b2c2b58d2" providerId="LiveId" clId="{A299B12E-E556-4FD9-B950-379CF91CEAD0}" dt="2020-07-31T12:57:49.454" v="88" actId="2696"/>
          <pc:sldLayoutMkLst>
            <pc:docMk/>
            <pc:sldMasterMk cId="3691047905" sldId="2147483648"/>
            <pc:sldLayoutMk cId="2862949829" sldId="2147483659"/>
          </pc:sldLayoutMkLst>
        </pc:sldLayoutChg>
      </pc:sldMasterChg>
      <pc:sldMasterChg chg="modSp modTransition delSldLayout modSldLayout sldLayoutOrd">
        <pc:chgData name="Eldert Grootenboer" userId="3fe8758b2c2b58d2" providerId="LiveId" clId="{A299B12E-E556-4FD9-B950-379CF91CEAD0}" dt="2020-08-01T13:12:42.307" v="2524"/>
        <pc:sldMasterMkLst>
          <pc:docMk/>
          <pc:sldMasterMk cId="3410068544" sldId="2147483683"/>
        </pc:sldMasterMkLst>
        <pc:spChg chg="mod">
          <ac:chgData name="Eldert Grootenboer" userId="3fe8758b2c2b58d2" providerId="LiveId" clId="{A299B12E-E556-4FD9-B950-379CF91CEAD0}" dt="2020-07-31T13:16:29.499" v="266" actId="403"/>
          <ac:spMkLst>
            <pc:docMk/>
            <pc:sldMasterMk cId="3410068544" sldId="2147483683"/>
            <ac:spMk id="3" creationId="{76D68C14-B504-4A27-956E-722C2041F8A8}"/>
          </ac:spMkLst>
        </pc:spChg>
        <pc:sldLayoutChg chg="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1340731663" sldId="2147483684"/>
          </pc:sldLayoutMkLst>
        </pc:sldLayoutChg>
        <pc:sldLayoutChg chg="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2318278998" sldId="2147483685"/>
          </pc:sldLayoutMkLst>
        </pc:sldLayoutChg>
        <pc:sldLayoutChg chg="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3690441207" sldId="2147483686"/>
          </pc:sldLayoutMkLst>
        </pc:sldLayoutChg>
        <pc:sldLayoutChg chg="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2677382017" sldId="2147483687"/>
          </pc:sldLayoutMkLst>
        </pc:sldLayoutChg>
        <pc:sldLayoutChg chg="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216105515" sldId="2147483688"/>
          </pc:sldLayoutMkLst>
        </pc:sldLayoutChg>
        <pc:sldLayoutChg chg="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588433151" sldId="2147483689"/>
          </pc:sldLayoutMkLst>
        </pc:sldLayoutChg>
        <pc:sldLayoutChg chg="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3360458614" sldId="2147483690"/>
          </pc:sldLayoutMkLst>
        </pc:sldLayoutChg>
        <pc:sldLayoutChg chg="modSp mod 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3579888926" sldId="2147483691"/>
          </pc:sldLayoutMkLst>
          <pc:spChg chg="mod">
            <ac:chgData name="Eldert Grootenboer" userId="3fe8758b2c2b58d2" providerId="LiveId" clId="{A299B12E-E556-4FD9-B950-379CF91CEAD0}" dt="2020-08-01T11:32:34.082" v="1539" actId="108"/>
            <ac:spMkLst>
              <pc:docMk/>
              <pc:sldMasterMk cId="3410068544" sldId="2147483683"/>
              <pc:sldLayoutMk cId="3579888926" sldId="2147483691"/>
              <ac:spMk id="2" creationId="{B1D27C6E-2596-4980-801D-4CDA0760F9FA}"/>
            </ac:spMkLst>
          </pc:spChg>
          <pc:spChg chg="mod">
            <ac:chgData name="Eldert Grootenboer" userId="3fe8758b2c2b58d2" providerId="LiveId" clId="{A299B12E-E556-4FD9-B950-379CF91CEAD0}" dt="2020-08-01T11:32:47.979" v="1541" actId="368"/>
            <ac:spMkLst>
              <pc:docMk/>
              <pc:sldMasterMk cId="3410068544" sldId="2147483683"/>
              <pc:sldLayoutMk cId="3579888926" sldId="2147483691"/>
              <ac:spMk id="4" creationId="{4BEEAD39-1E5D-42F1-9147-DEB2C8056FCE}"/>
            </ac:spMkLst>
          </pc:spChg>
        </pc:sldLayoutChg>
        <pc:sldLayoutChg chg="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2760123873" sldId="2147483692"/>
          </pc:sldLayoutMkLst>
        </pc:sldLayoutChg>
        <pc:sldLayoutChg chg="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1196244725" sldId="2147483693"/>
          </pc:sldLayoutMkLst>
        </pc:sldLayoutChg>
        <pc:sldLayoutChg chg="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1721051411" sldId="2147483694"/>
          </pc:sldLayoutMkLst>
        </pc:sldLayoutChg>
        <pc:sldLayoutChg chg="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61367409" sldId="2147483695"/>
          </pc:sldLayoutMkLst>
        </pc:sldLayoutChg>
        <pc:sldLayoutChg chg="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2185589188" sldId="2147483696"/>
          </pc:sldLayoutMkLst>
        </pc:sldLayoutChg>
        <pc:sldLayoutChg chg="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4032255100" sldId="2147483697"/>
          </pc:sldLayoutMkLst>
        </pc:sldLayoutChg>
        <pc:sldLayoutChg chg="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47569417" sldId="2147483698"/>
          </pc:sldLayoutMkLst>
        </pc:sldLayoutChg>
        <pc:sldLayoutChg chg="del">
          <pc:chgData name="Eldert Grootenboer" userId="3fe8758b2c2b58d2" providerId="LiveId" clId="{A299B12E-E556-4FD9-B950-379CF91CEAD0}" dt="2020-07-31T13:11:02.238" v="192" actId="2696"/>
          <pc:sldLayoutMkLst>
            <pc:docMk/>
            <pc:sldMasterMk cId="3410068544" sldId="2147483683"/>
            <pc:sldLayoutMk cId="3016987415" sldId="2147483698"/>
          </pc:sldLayoutMkLst>
        </pc:sldLayoutChg>
        <pc:sldLayoutChg chg="addSp delSp modSp mod">
          <pc:chgData name="Eldert Grootenboer" userId="3fe8758b2c2b58d2" providerId="LiveId" clId="{A299B12E-E556-4FD9-B950-379CF91CEAD0}" dt="2020-07-31T18:10:40.807" v="932" actId="6549"/>
          <pc:sldLayoutMkLst>
            <pc:docMk/>
            <pc:sldMasterMk cId="3410068544" sldId="2147483683"/>
            <pc:sldLayoutMk cId="813147683" sldId="2147483699"/>
          </pc:sldLayoutMkLst>
          <pc:spChg chg="add del mod">
            <ac:chgData name="Eldert Grootenboer" userId="3fe8758b2c2b58d2" providerId="LiveId" clId="{A299B12E-E556-4FD9-B950-379CF91CEAD0}" dt="2020-07-31T18:10:40.807" v="932" actId="6549"/>
            <ac:spMkLst>
              <pc:docMk/>
              <pc:sldMasterMk cId="3410068544" sldId="2147483683"/>
              <pc:sldLayoutMk cId="813147683" sldId="2147483699"/>
              <ac:spMk id="3" creationId="{F7304700-5445-4C58-B6C5-34A9AEF000C0}"/>
            </ac:spMkLst>
          </pc:spChg>
          <pc:graphicFrameChg chg="add del mod">
            <ac:chgData name="Eldert Grootenboer" userId="3fe8758b2c2b58d2" providerId="LiveId" clId="{A299B12E-E556-4FD9-B950-379CF91CEAD0}" dt="2020-07-31T18:05:06.703" v="892"/>
            <ac:graphicFrameMkLst>
              <pc:docMk/>
              <pc:sldMasterMk cId="3410068544" sldId="2147483683"/>
              <pc:sldLayoutMk cId="813147683" sldId="2147483699"/>
              <ac:graphicFrameMk id="7" creationId="{81411C5B-2A8E-407A-B35D-FF0CEC457B48}"/>
            </ac:graphicFrameMkLst>
          </pc:graphicFrameChg>
          <pc:graphicFrameChg chg="add del mod">
            <ac:chgData name="Eldert Grootenboer" userId="3fe8758b2c2b58d2" providerId="LiveId" clId="{A299B12E-E556-4FD9-B950-379CF91CEAD0}" dt="2020-07-31T18:10:40.044" v="931"/>
            <ac:graphicFrameMkLst>
              <pc:docMk/>
              <pc:sldMasterMk cId="3410068544" sldId="2147483683"/>
              <pc:sldLayoutMk cId="813147683" sldId="2147483699"/>
              <ac:graphicFrameMk id="8" creationId="{23E3396C-5345-482C-9ABC-EFB1950FE1FF}"/>
            </ac:graphicFrameMkLst>
          </pc:graphicFrameChg>
          <pc:graphicFrameChg chg="add del mod">
            <ac:chgData name="Eldert Grootenboer" userId="3fe8758b2c2b58d2" providerId="LiveId" clId="{A299B12E-E556-4FD9-B950-379CF91CEAD0}" dt="2020-07-31T18:10:30.181" v="926" actId="22"/>
            <ac:graphicFrameMkLst>
              <pc:docMk/>
              <pc:sldMasterMk cId="3410068544" sldId="2147483683"/>
              <pc:sldLayoutMk cId="813147683" sldId="2147483699"/>
              <ac:graphicFrameMk id="10" creationId="{309273EA-0192-446E-BD2A-328D0E7A4E51}"/>
            </ac:graphicFrameMkLst>
          </pc:graphicFrameChg>
        </pc:sldLayoutChg>
        <pc:sldLayoutChg chg="addSp delSp modSp del mod">
          <pc:chgData name="Eldert Grootenboer" userId="3fe8758b2c2b58d2" providerId="LiveId" clId="{A299B12E-E556-4FD9-B950-379CF91CEAD0}" dt="2020-08-01T11:04:56.615" v="1268" actId="2696"/>
          <pc:sldLayoutMkLst>
            <pc:docMk/>
            <pc:sldMasterMk cId="3410068544" sldId="2147483683"/>
            <pc:sldLayoutMk cId="1161043136" sldId="2147483699"/>
          </pc:sldLayoutMkLst>
          <pc:spChg chg="mod">
            <ac:chgData name="Eldert Grootenboer" userId="3fe8758b2c2b58d2" providerId="LiveId" clId="{A299B12E-E556-4FD9-B950-379CF91CEAD0}" dt="2020-08-01T11:03:46.958" v="1258" actId="108"/>
            <ac:spMkLst>
              <pc:docMk/>
              <pc:sldMasterMk cId="3410068544" sldId="2147483683"/>
              <pc:sldLayoutMk cId="1161043136" sldId="2147483699"/>
              <ac:spMk id="2" creationId="{448E2757-3BE4-4DB7-9156-9E97D50A3717}"/>
            </ac:spMkLst>
          </pc:spChg>
          <pc:spChg chg="add del">
            <ac:chgData name="Eldert Grootenboer" userId="3fe8758b2c2b58d2" providerId="LiveId" clId="{A299B12E-E556-4FD9-B950-379CF91CEAD0}" dt="2020-08-01T11:03:11.376" v="1256" actId="478"/>
            <ac:spMkLst>
              <pc:docMk/>
              <pc:sldMasterMk cId="3410068544" sldId="2147483683"/>
              <pc:sldLayoutMk cId="1161043136" sldId="2147483699"/>
              <ac:spMk id="4" creationId="{1B6E55C2-2A68-4DE8-94DF-75EB3D8FC66C}"/>
            </ac:spMkLst>
          </pc:spChg>
        </pc:sldLayoutChg>
        <pc:sldLayoutChg chg="delSp modSp mod ord modTransition">
          <pc:chgData name="Eldert Grootenboer" userId="3fe8758b2c2b58d2" providerId="LiveId" clId="{A299B12E-E556-4FD9-B950-379CF91CEAD0}" dt="2020-08-01T13:12:42.307" v="2524"/>
          <pc:sldLayoutMkLst>
            <pc:docMk/>
            <pc:sldMasterMk cId="3410068544" sldId="2147483683"/>
            <pc:sldLayoutMk cId="3261569039" sldId="2147483699"/>
          </pc:sldLayoutMkLst>
          <pc:spChg chg="mod">
            <ac:chgData name="Eldert Grootenboer" userId="3fe8758b2c2b58d2" providerId="LiveId" clId="{A299B12E-E556-4FD9-B950-379CF91CEAD0}" dt="2020-08-01T11:33:00.241" v="1542" actId="108"/>
            <ac:spMkLst>
              <pc:docMk/>
              <pc:sldMasterMk cId="3410068544" sldId="2147483683"/>
              <pc:sldLayoutMk cId="3261569039" sldId="2147483699"/>
              <ac:spMk id="2" creationId="{B1D27C6E-2596-4980-801D-4CDA0760F9FA}"/>
            </ac:spMkLst>
          </pc:spChg>
          <pc:spChg chg="del">
            <ac:chgData name="Eldert Grootenboer" userId="3fe8758b2c2b58d2" providerId="LiveId" clId="{A299B12E-E556-4FD9-B950-379CF91CEAD0}" dt="2020-08-01T11:05:21.325" v="1272" actId="478"/>
            <ac:spMkLst>
              <pc:docMk/>
              <pc:sldMasterMk cId="3410068544" sldId="2147483683"/>
              <pc:sldLayoutMk cId="3261569039" sldId="2147483699"/>
              <ac:spMk id="4" creationId="{4BEEAD39-1E5D-42F1-9147-DEB2C8056FCE}"/>
            </ac:spMkLst>
          </pc:spChg>
        </pc:sldLayoutChg>
      </pc:sldMasterChg>
    </pc:docChg>
  </pc:docChgLst>
  <pc:docChgLst>
    <pc:chgData name="Eldert Grootenboer" userId="3fe8758b2c2b58d2" providerId="LiveId" clId="{C5D8C473-630B-47EC-B6E4-DB71D6928E8A}"/>
    <pc:docChg chg="undo custSel addSld delSld modSld sldOrd modSection">
      <pc:chgData name="Eldert Grootenboer" userId="3fe8758b2c2b58d2" providerId="LiveId" clId="{C5D8C473-630B-47EC-B6E4-DB71D6928E8A}" dt="2021-10-12T07:02:37.616" v="41" actId="167"/>
      <pc:docMkLst>
        <pc:docMk/>
      </pc:docMkLst>
      <pc:sldChg chg="mod modShow">
        <pc:chgData name="Eldert Grootenboer" userId="3fe8758b2c2b58d2" providerId="LiveId" clId="{C5D8C473-630B-47EC-B6E4-DB71D6928E8A}" dt="2021-10-12T06:58:33.402" v="0" actId="729"/>
        <pc:sldMkLst>
          <pc:docMk/>
          <pc:sldMk cId="2743749799" sldId="1863"/>
        </pc:sldMkLst>
      </pc:sldChg>
      <pc:sldChg chg="modSp add del mod modShow">
        <pc:chgData name="Eldert Grootenboer" userId="3fe8758b2c2b58d2" providerId="LiveId" clId="{C5D8C473-630B-47EC-B6E4-DB71D6928E8A}" dt="2021-10-12T06:59:44.355" v="32" actId="729"/>
        <pc:sldMkLst>
          <pc:docMk/>
          <pc:sldMk cId="891752123" sldId="1997"/>
        </pc:sldMkLst>
        <pc:picChg chg="mod ord">
          <ac:chgData name="Eldert Grootenboer" userId="3fe8758b2c2b58d2" providerId="LiveId" clId="{C5D8C473-630B-47EC-B6E4-DB71D6928E8A}" dt="2021-10-12T06:59:38.196" v="30" actId="22"/>
          <ac:picMkLst>
            <pc:docMk/>
            <pc:sldMk cId="891752123" sldId="1997"/>
            <ac:picMk id="4098" creationId="{FD700238-B731-47D9-81FD-DE9A087E085A}"/>
          </ac:picMkLst>
        </pc:picChg>
      </pc:sldChg>
      <pc:sldChg chg="addSp">
        <pc:chgData name="Eldert Grootenboer" userId="3fe8758b2c2b58d2" providerId="LiveId" clId="{C5D8C473-630B-47EC-B6E4-DB71D6928E8A}" dt="2021-10-12T06:59:25.580" v="24"/>
        <pc:sldMkLst>
          <pc:docMk/>
          <pc:sldMk cId="3275209701" sldId="1997"/>
        </pc:sldMkLst>
        <pc:picChg chg="add">
          <ac:chgData name="Eldert Grootenboer" userId="3fe8758b2c2b58d2" providerId="LiveId" clId="{C5D8C473-630B-47EC-B6E4-DB71D6928E8A}" dt="2021-10-12T06:59:25.580" v="24"/>
          <ac:picMkLst>
            <pc:docMk/>
            <pc:sldMk cId="3275209701" sldId="1997"/>
            <ac:picMk id="4098" creationId="{FD700238-B731-47D9-81FD-DE9A087E085A}"/>
          </ac:picMkLst>
        </pc:picChg>
      </pc:sldChg>
      <pc:sldChg chg="addSp">
        <pc:chgData name="Eldert Grootenboer" userId="3fe8758b2c2b58d2" providerId="LiveId" clId="{C5D8C473-630B-47EC-B6E4-DB71D6928E8A}" dt="2021-10-12T06:58:56.092" v="15"/>
        <pc:sldMkLst>
          <pc:docMk/>
          <pc:sldMk cId="426081390" sldId="2043"/>
        </pc:sldMkLst>
        <pc:picChg chg="add">
          <ac:chgData name="Eldert Grootenboer" userId="3fe8758b2c2b58d2" providerId="LiveId" clId="{C5D8C473-630B-47EC-B6E4-DB71D6928E8A}" dt="2021-10-12T06:58:56.092" v="15"/>
          <ac:picMkLst>
            <pc:docMk/>
            <pc:sldMk cId="426081390" sldId="2043"/>
            <ac:picMk id="3074" creationId="{A5FA443C-4D07-4E54-86EA-855B2BC0D66B}"/>
          </ac:picMkLst>
        </pc:picChg>
      </pc:sldChg>
      <pc:sldChg chg="modSp add del mod ord modShow">
        <pc:chgData name="Eldert Grootenboer" userId="3fe8758b2c2b58d2" providerId="LiveId" clId="{C5D8C473-630B-47EC-B6E4-DB71D6928E8A}" dt="2021-10-12T06:59:18.938" v="23" actId="12788"/>
        <pc:sldMkLst>
          <pc:docMk/>
          <pc:sldMk cId="2149640499" sldId="2043"/>
        </pc:sldMkLst>
        <pc:spChg chg="mod">
          <ac:chgData name="Eldert Grootenboer" userId="3fe8758b2c2b58d2" providerId="LiveId" clId="{C5D8C473-630B-47EC-B6E4-DB71D6928E8A}" dt="2021-10-12T06:59:11.164" v="21" actId="12788"/>
          <ac:spMkLst>
            <pc:docMk/>
            <pc:sldMk cId="2149640499" sldId="2043"/>
            <ac:spMk id="7" creationId="{00000000-0000-0000-0000-000000000000}"/>
          </ac:spMkLst>
        </pc:spChg>
        <pc:spChg chg="mod">
          <ac:chgData name="Eldert Grootenboer" userId="3fe8758b2c2b58d2" providerId="LiveId" clId="{C5D8C473-630B-47EC-B6E4-DB71D6928E8A}" dt="2021-10-12T06:59:18.938" v="23" actId="12788"/>
          <ac:spMkLst>
            <pc:docMk/>
            <pc:sldMk cId="2149640499" sldId="2043"/>
            <ac:spMk id="8" creationId="{00000000-0000-0000-0000-000000000000}"/>
          </ac:spMkLst>
        </pc:spChg>
        <pc:picChg chg="mod">
          <ac:chgData name="Eldert Grootenboer" userId="3fe8758b2c2b58d2" providerId="LiveId" clId="{C5D8C473-630B-47EC-B6E4-DB71D6928E8A}" dt="2021-10-12T06:58:43.765" v="9" actId="22"/>
          <ac:picMkLst>
            <pc:docMk/>
            <pc:sldMk cId="2149640499" sldId="2043"/>
            <ac:picMk id="1026" creationId="{DFDC629D-48DA-43BD-B7E3-8F8943631949}"/>
          </ac:picMkLst>
        </pc:picChg>
        <pc:picChg chg="mod">
          <ac:chgData name="Eldert Grootenboer" userId="3fe8758b2c2b58d2" providerId="LiveId" clId="{C5D8C473-630B-47EC-B6E4-DB71D6928E8A}" dt="2021-10-12T06:58:47.774" v="14" actId="22"/>
          <ac:picMkLst>
            <pc:docMk/>
            <pc:sldMk cId="2149640499" sldId="2043"/>
            <ac:picMk id="2050" creationId="{DCD5CE01-9B5D-46DF-AE76-A48822631EC8}"/>
          </ac:picMkLst>
        </pc:picChg>
        <pc:picChg chg="mod ord">
          <ac:chgData name="Eldert Grootenboer" userId="3fe8758b2c2b58d2" providerId="LiveId" clId="{C5D8C473-630B-47EC-B6E4-DB71D6928E8A}" dt="2021-10-12T06:58:59.058" v="19" actId="167"/>
          <ac:picMkLst>
            <pc:docMk/>
            <pc:sldMk cId="2149640499" sldId="2043"/>
            <ac:picMk id="3074" creationId="{A5FA443C-4D07-4E54-86EA-855B2BC0D66B}"/>
          </ac:picMkLst>
        </pc:picChg>
      </pc:sldChg>
      <pc:sldChg chg="addSp">
        <pc:chgData name="Eldert Grootenboer" userId="3fe8758b2c2b58d2" providerId="LiveId" clId="{C5D8C473-630B-47EC-B6E4-DB71D6928E8A}" dt="2021-10-12T06:58:42.901" v="5"/>
        <pc:sldMkLst>
          <pc:docMk/>
          <pc:sldMk cId="2635421728" sldId="2043"/>
        </pc:sldMkLst>
        <pc:picChg chg="add">
          <ac:chgData name="Eldert Grootenboer" userId="3fe8758b2c2b58d2" providerId="LiveId" clId="{C5D8C473-630B-47EC-B6E4-DB71D6928E8A}" dt="2021-10-12T06:58:42.901" v="5"/>
          <ac:picMkLst>
            <pc:docMk/>
            <pc:sldMk cId="2635421728" sldId="2043"/>
            <ac:picMk id="1026" creationId="{DFDC629D-48DA-43BD-B7E3-8F8943631949}"/>
          </ac:picMkLst>
        </pc:picChg>
      </pc:sldChg>
      <pc:sldChg chg="addSp">
        <pc:chgData name="Eldert Grootenboer" userId="3fe8758b2c2b58d2" providerId="LiveId" clId="{C5D8C473-630B-47EC-B6E4-DB71D6928E8A}" dt="2021-10-12T06:58:44.802" v="10"/>
        <pc:sldMkLst>
          <pc:docMk/>
          <pc:sldMk cId="3381438145" sldId="2043"/>
        </pc:sldMkLst>
        <pc:picChg chg="add">
          <ac:chgData name="Eldert Grootenboer" userId="3fe8758b2c2b58d2" providerId="LiveId" clId="{C5D8C473-630B-47EC-B6E4-DB71D6928E8A}" dt="2021-10-12T06:58:44.802" v="10"/>
          <ac:picMkLst>
            <pc:docMk/>
            <pc:sldMk cId="3381438145" sldId="2043"/>
            <ac:picMk id="2050" creationId="{DCD5CE01-9B5D-46DF-AE76-A48822631EC8}"/>
          </ac:picMkLst>
        </pc:picChg>
      </pc:sldChg>
      <pc:sldChg chg="modSp add del mod">
        <pc:chgData name="Eldert Grootenboer" userId="3fe8758b2c2b58d2" providerId="LiveId" clId="{C5D8C473-630B-47EC-B6E4-DB71D6928E8A}" dt="2021-10-12T07:02:37.616" v="41" actId="167"/>
        <pc:sldMkLst>
          <pc:docMk/>
          <pc:sldMk cId="608026759" sldId="2044"/>
        </pc:sldMkLst>
        <pc:spChg chg="mod">
          <ac:chgData name="Eldert Grootenboer" userId="3fe8758b2c2b58d2" providerId="LiveId" clId="{C5D8C473-630B-47EC-B6E4-DB71D6928E8A}" dt="2021-10-12T06:59:59.911" v="38" actId="1076"/>
          <ac:spMkLst>
            <pc:docMk/>
            <pc:sldMk cId="608026759" sldId="2044"/>
            <ac:spMk id="2" creationId="{EDF5E76B-98B8-4D90-8AEA-7411FE79CE78}"/>
          </ac:spMkLst>
        </pc:spChg>
        <pc:picChg chg="mod ord">
          <ac:chgData name="Eldert Grootenboer" userId="3fe8758b2c2b58d2" providerId="LiveId" clId="{C5D8C473-630B-47EC-B6E4-DB71D6928E8A}" dt="2021-10-12T07:02:37.616" v="41" actId="167"/>
          <ac:picMkLst>
            <pc:docMk/>
            <pc:sldMk cId="608026759" sldId="2044"/>
            <ac:picMk id="5122" creationId="{DAB2F973-B31D-409A-B7E7-FB5C88B79B6E}"/>
          </ac:picMkLst>
        </pc:picChg>
      </pc:sldChg>
      <pc:sldChg chg="addSp">
        <pc:chgData name="Eldert Grootenboer" userId="3fe8758b2c2b58d2" providerId="LiveId" clId="{C5D8C473-630B-47EC-B6E4-DB71D6928E8A}" dt="2021-10-12T06:59:46.185" v="33"/>
        <pc:sldMkLst>
          <pc:docMk/>
          <pc:sldMk cId="1295974944" sldId="2044"/>
        </pc:sldMkLst>
        <pc:picChg chg="add">
          <ac:chgData name="Eldert Grootenboer" userId="3fe8758b2c2b58d2" providerId="LiveId" clId="{C5D8C473-630B-47EC-B6E4-DB71D6928E8A}" dt="2021-10-12T06:59:46.185" v="33"/>
          <ac:picMkLst>
            <pc:docMk/>
            <pc:sldMk cId="1295974944" sldId="2044"/>
            <ac:picMk id="5122" creationId="{DAB2F973-B31D-409A-B7E7-FB5C88B79B6E}"/>
          </ac:picMkLst>
        </pc:picChg>
      </pc:sldChg>
    </pc:docChg>
  </pc:docChgLst>
  <pc:docChgLst>
    <pc:chgData name="Eldert Grootenboer" userId="3fe8758b2c2b58d2" providerId="LiveId" clId="{7026DA93-3AC0-463F-8AC3-278E2B5CF970}"/>
    <pc:docChg chg="undo custSel delSld modSld modSection">
      <pc:chgData name="Eldert Grootenboer" userId="3fe8758b2c2b58d2" providerId="LiveId" clId="{7026DA93-3AC0-463F-8AC3-278E2B5CF970}" dt="2020-11-15T15:55:45.273" v="5" actId="47"/>
      <pc:docMkLst>
        <pc:docMk/>
      </pc:docMkLst>
      <pc:sldChg chg="mod modShow">
        <pc:chgData name="Eldert Grootenboer" userId="3fe8758b2c2b58d2" providerId="LiveId" clId="{7026DA93-3AC0-463F-8AC3-278E2B5CF970}" dt="2020-11-15T15:54:19.961" v="3" actId="729"/>
        <pc:sldMkLst>
          <pc:docMk/>
          <pc:sldMk cId="580790234" sldId="1999"/>
        </pc:sldMkLst>
      </pc:sldChg>
      <pc:sldChg chg="mod modShow">
        <pc:chgData name="Eldert Grootenboer" userId="3fe8758b2c2b58d2" providerId="LiveId" clId="{7026DA93-3AC0-463F-8AC3-278E2B5CF970}" dt="2020-11-15T15:54:24.923" v="4" actId="729"/>
        <pc:sldMkLst>
          <pc:docMk/>
          <pc:sldMk cId="2030337305" sldId="2000"/>
        </pc:sldMkLst>
      </pc:sldChg>
      <pc:sldChg chg="modSp mod">
        <pc:chgData name="Eldert Grootenboer" userId="3fe8758b2c2b58d2" providerId="LiveId" clId="{7026DA93-3AC0-463F-8AC3-278E2B5CF970}" dt="2020-10-19T13:27:54.672" v="1" actId="1076"/>
        <pc:sldMkLst>
          <pc:docMk/>
          <pc:sldMk cId="4091695444" sldId="2008"/>
        </pc:sldMkLst>
        <pc:spChg chg="mod">
          <ac:chgData name="Eldert Grootenboer" userId="3fe8758b2c2b58d2" providerId="LiveId" clId="{7026DA93-3AC0-463F-8AC3-278E2B5CF970}" dt="2020-10-19T13:27:54.672" v="1" actId="1076"/>
          <ac:spMkLst>
            <pc:docMk/>
            <pc:sldMk cId="4091695444" sldId="2008"/>
            <ac:spMk id="5" creationId="{B7285CF7-CB35-4F9D-94F3-78A371DD53BE}"/>
          </ac:spMkLst>
        </pc:spChg>
      </pc:sldChg>
      <pc:sldChg chg="del">
        <pc:chgData name="Eldert Grootenboer" userId="3fe8758b2c2b58d2" providerId="LiveId" clId="{7026DA93-3AC0-463F-8AC3-278E2B5CF970}" dt="2020-11-15T15:55:45.273" v="5" actId="47"/>
        <pc:sldMkLst>
          <pc:docMk/>
          <pc:sldMk cId="3560097479" sldId="2013"/>
        </pc:sldMkLst>
      </pc:sldChg>
      <pc:sldChg chg="modSp mod">
        <pc:chgData name="Eldert Grootenboer" userId="3fe8758b2c2b58d2" providerId="LiveId" clId="{7026DA93-3AC0-463F-8AC3-278E2B5CF970}" dt="2020-10-19T13:27:58.713" v="2" actId="20577"/>
        <pc:sldMkLst>
          <pc:docMk/>
          <pc:sldMk cId="2134694078" sldId="2015"/>
        </pc:sldMkLst>
        <pc:spChg chg="mod">
          <ac:chgData name="Eldert Grootenboer" userId="3fe8758b2c2b58d2" providerId="LiveId" clId="{7026DA93-3AC0-463F-8AC3-278E2B5CF970}" dt="2020-10-19T13:27:58.713" v="2" actId="20577"/>
          <ac:spMkLst>
            <pc:docMk/>
            <pc:sldMk cId="2134694078" sldId="2015"/>
            <ac:spMk id="13" creationId="{2542848A-ABC9-4D47-97C0-4B1F2225096A}"/>
          </ac:spMkLst>
        </pc:spChg>
      </pc:sldChg>
    </pc:docChg>
  </pc:docChgLst>
  <pc:docChgLst>
    <pc:chgData name="Eldert Grootenboer" userId="3fe8758b2c2b58d2" providerId="LiveId" clId="{08C7CBF7-62EA-4DF4-9403-E635C0D43567}"/>
    <pc:docChg chg="undo custSel addSld delSld modSld modMainMaster">
      <pc:chgData name="Eldert Grootenboer" userId="3fe8758b2c2b58d2" providerId="LiveId" clId="{08C7CBF7-62EA-4DF4-9403-E635C0D43567}" dt="2021-01-28T09:07:19.984" v="68" actId="729"/>
      <pc:docMkLst>
        <pc:docMk/>
      </pc:docMkLst>
      <pc:sldChg chg="add del modTransition">
        <pc:chgData name="Eldert Grootenboer" userId="3fe8758b2c2b58d2" providerId="LiveId" clId="{08C7CBF7-62EA-4DF4-9403-E635C0D43567}" dt="2021-01-28T09:06:35.586" v="29"/>
        <pc:sldMkLst>
          <pc:docMk/>
          <pc:sldMk cId="1340261549" sldId="257"/>
        </pc:sldMkLst>
      </pc:sldChg>
      <pc:sldChg chg="addSp delSp modSp add del mod modTransition setBg delDesignElem">
        <pc:chgData name="Eldert Grootenboer" userId="3fe8758b2c2b58d2" providerId="LiveId" clId="{08C7CBF7-62EA-4DF4-9403-E635C0D43567}" dt="2021-01-28T09:07:07.034" v="67" actId="20577"/>
        <pc:sldMkLst>
          <pc:docMk/>
          <pc:sldMk cId="1618584761" sldId="258"/>
        </pc:sldMkLst>
        <pc:spChg chg="mod">
          <ac:chgData name="Eldert Grootenboer" userId="3fe8758b2c2b58d2" providerId="LiveId" clId="{08C7CBF7-62EA-4DF4-9403-E635C0D43567}" dt="2021-01-28T09:06:59.872" v="49" actId="404"/>
          <ac:spMkLst>
            <pc:docMk/>
            <pc:sldMk cId="1618584761" sldId="258"/>
            <ac:spMk id="4" creationId="{1FD69781-E8CA-47C0-8BED-24C4CD72715B}"/>
          </ac:spMkLst>
        </pc:spChg>
        <pc:spChg chg="mod">
          <ac:chgData name="Eldert Grootenboer" userId="3fe8758b2c2b58d2" providerId="LiveId" clId="{08C7CBF7-62EA-4DF4-9403-E635C0D43567}" dt="2021-01-28T09:07:07.034" v="67" actId="20577"/>
          <ac:spMkLst>
            <pc:docMk/>
            <pc:sldMk cId="1618584761" sldId="258"/>
            <ac:spMk id="5" creationId="{F57E6D49-49AA-4DC8-A1FF-BA126C9AF6CE}"/>
          </ac:spMkLst>
        </pc:spChg>
        <pc:spChg chg="add del">
          <ac:chgData name="Eldert Grootenboer" userId="3fe8758b2c2b58d2" providerId="LiveId" clId="{08C7CBF7-62EA-4DF4-9403-E635C0D43567}" dt="2021-01-28T09:06:30.789" v="28"/>
          <ac:spMkLst>
            <pc:docMk/>
            <pc:sldMk cId="1618584761" sldId="258"/>
            <ac:spMk id="11" creationId="{E49CC64F-7275-4E33-961B-0C5CDC439875}"/>
          </ac:spMkLst>
        </pc:spChg>
      </pc:sldChg>
      <pc:sldChg chg="modSp add del mod modTransition">
        <pc:chgData name="Eldert Grootenboer" userId="3fe8758b2c2b58d2" providerId="LiveId" clId="{08C7CBF7-62EA-4DF4-9403-E635C0D43567}" dt="2021-01-16T11:54:41.324" v="25"/>
        <pc:sldMkLst>
          <pc:docMk/>
          <pc:sldMk cId="3588717251" sldId="280"/>
        </pc:sldMkLst>
        <pc:spChg chg="mod">
          <ac:chgData name="Eldert Grootenboer" userId="3fe8758b2c2b58d2" providerId="LiveId" clId="{08C7CBF7-62EA-4DF4-9403-E635C0D43567}" dt="2021-01-16T11:54:41.007" v="24"/>
          <ac:spMkLst>
            <pc:docMk/>
            <pc:sldMk cId="3588717251" sldId="280"/>
            <ac:spMk id="4" creationId="{00000000-0000-0000-0000-000000000000}"/>
          </ac:spMkLst>
        </pc:spChg>
        <pc:spChg chg="mod">
          <ac:chgData name="Eldert Grootenboer" userId="3fe8758b2c2b58d2" providerId="LiveId" clId="{08C7CBF7-62EA-4DF4-9403-E635C0D43567}" dt="2021-01-16T11:54:39.858" v="21"/>
          <ac:spMkLst>
            <pc:docMk/>
            <pc:sldMk cId="3588717251" sldId="280"/>
            <ac:spMk id="5" creationId="{00000000-0000-0000-0000-000000000000}"/>
          </ac:spMkLst>
        </pc:spChg>
      </pc:sldChg>
      <pc:sldChg chg="add del">
        <pc:chgData name="Eldert Grootenboer" userId="3fe8758b2c2b58d2" providerId="LiveId" clId="{08C7CBF7-62EA-4DF4-9403-E635C0D43567}" dt="2021-01-28T09:06:35.586" v="29"/>
        <pc:sldMkLst>
          <pc:docMk/>
          <pc:sldMk cId="1330076559" sldId="317"/>
        </pc:sldMkLst>
      </pc:sldChg>
      <pc:sldChg chg="add del modTransition">
        <pc:chgData name="Eldert Grootenboer" userId="3fe8758b2c2b58d2" providerId="LiveId" clId="{08C7CBF7-62EA-4DF4-9403-E635C0D43567}" dt="2021-01-16T11:54:41.324" v="25"/>
        <pc:sldMkLst>
          <pc:docMk/>
          <pc:sldMk cId="1863501800" sldId="376"/>
        </pc:sldMkLst>
      </pc:sldChg>
      <pc:sldChg chg="add del">
        <pc:chgData name="Eldert Grootenboer" userId="3fe8758b2c2b58d2" providerId="LiveId" clId="{08C7CBF7-62EA-4DF4-9403-E635C0D43567}" dt="2021-01-16T11:54:35.633" v="19"/>
        <pc:sldMkLst>
          <pc:docMk/>
          <pc:sldMk cId="3054891949" sldId="378"/>
        </pc:sldMkLst>
      </pc:sldChg>
      <pc:sldChg chg="modSp">
        <pc:chgData name="Eldert Grootenboer" userId="3fe8758b2c2b58d2" providerId="LiveId" clId="{08C7CBF7-62EA-4DF4-9403-E635C0D43567}" dt="2021-01-16T10:21:25.409" v="5"/>
        <pc:sldMkLst>
          <pc:docMk/>
          <pc:sldMk cId="3934477733" sldId="1620"/>
        </pc:sldMkLst>
        <pc:spChg chg="mod">
          <ac:chgData name="Eldert Grootenboer" userId="3fe8758b2c2b58d2" providerId="LiveId" clId="{08C7CBF7-62EA-4DF4-9403-E635C0D43567}" dt="2021-01-16T10:21:25.409" v="5"/>
          <ac:spMkLst>
            <pc:docMk/>
            <pc:sldMk cId="3934477733" sldId="1620"/>
            <ac:spMk id="5" creationId="{00000000-0000-0000-0000-000000000000}"/>
          </ac:spMkLst>
        </pc:spChg>
      </pc:sldChg>
      <pc:sldChg chg="mod modShow">
        <pc:chgData name="Eldert Grootenboer" userId="3fe8758b2c2b58d2" providerId="LiveId" clId="{08C7CBF7-62EA-4DF4-9403-E635C0D43567}" dt="2021-01-28T09:07:19.984" v="68" actId="729"/>
        <pc:sldMkLst>
          <pc:docMk/>
          <pc:sldMk cId="2743749799" sldId="1863"/>
        </pc:sldMkLst>
      </pc:sldChg>
      <pc:sldChg chg="modSp">
        <pc:chgData name="Eldert Grootenboer" userId="3fe8758b2c2b58d2" providerId="LiveId" clId="{08C7CBF7-62EA-4DF4-9403-E635C0D43567}" dt="2021-01-16T10:21:25.409" v="5"/>
        <pc:sldMkLst>
          <pc:docMk/>
          <pc:sldMk cId="4263392662" sldId="1870"/>
        </pc:sldMkLst>
        <pc:spChg chg="mod">
          <ac:chgData name="Eldert Grootenboer" userId="3fe8758b2c2b58d2" providerId="LiveId" clId="{08C7CBF7-62EA-4DF4-9403-E635C0D43567}" dt="2021-01-16T10:21:25.409" v="5"/>
          <ac:spMkLst>
            <pc:docMk/>
            <pc:sldMk cId="4263392662" sldId="1870"/>
            <ac:spMk id="2" creationId="{00000000-0000-0000-0000-000000000000}"/>
          </ac:spMkLst>
        </pc:spChg>
      </pc:sldChg>
      <pc:sldChg chg="addSp delSp delDesignElem">
        <pc:chgData name="Eldert Grootenboer" userId="3fe8758b2c2b58d2" providerId="LiveId" clId="{08C7CBF7-62EA-4DF4-9403-E635C0D43567}" dt="2021-01-16T10:21:25.409" v="5"/>
        <pc:sldMkLst>
          <pc:docMk/>
          <pc:sldMk cId="891752123" sldId="1997"/>
        </pc:sldMkLst>
        <pc:spChg chg="add del">
          <ac:chgData name="Eldert Grootenboer" userId="3fe8758b2c2b58d2" providerId="LiveId" clId="{08C7CBF7-62EA-4DF4-9403-E635C0D43567}" dt="2021-01-16T10:21:25.409" v="5"/>
          <ac:spMkLst>
            <pc:docMk/>
            <pc:sldMk cId="891752123" sldId="1997"/>
            <ac:spMk id="20" creationId="{2EEE8F11-3582-44B7-9869-F2D26D7DD9D4}"/>
          </ac:spMkLst>
        </pc:spChg>
        <pc:spChg chg="add del">
          <ac:chgData name="Eldert Grootenboer" userId="3fe8758b2c2b58d2" providerId="LiveId" clId="{08C7CBF7-62EA-4DF4-9403-E635C0D43567}" dt="2021-01-16T10:21:25.409" v="5"/>
          <ac:spMkLst>
            <pc:docMk/>
            <pc:sldMk cId="891752123" sldId="1997"/>
            <ac:spMk id="21" creationId="{2141F1CC-6A53-4BCF-9127-AABB52E2497E}"/>
          </ac:spMkLst>
        </pc:spChg>
        <pc:spChg chg="add del">
          <ac:chgData name="Eldert Grootenboer" userId="3fe8758b2c2b58d2" providerId="LiveId" clId="{08C7CBF7-62EA-4DF4-9403-E635C0D43567}" dt="2021-01-16T10:21:25.409" v="5"/>
          <ac:spMkLst>
            <pc:docMk/>
            <pc:sldMk cId="891752123" sldId="1997"/>
            <ac:spMk id="22" creationId="{C20C2C41-D9A8-45BE-9E21-91268EC186D8}"/>
          </ac:spMkLst>
        </pc:spChg>
        <pc:spChg chg="add del">
          <ac:chgData name="Eldert Grootenboer" userId="3fe8758b2c2b58d2" providerId="LiveId" clId="{08C7CBF7-62EA-4DF4-9403-E635C0D43567}" dt="2021-01-16T10:21:25.409" v="5"/>
          <ac:spMkLst>
            <pc:docMk/>
            <pc:sldMk cId="891752123" sldId="1997"/>
            <ac:spMk id="24" creationId="{561B2B49-7142-4CA8-A929-4671548E6A5A}"/>
          </ac:spMkLst>
        </pc:spChg>
        <pc:spChg chg="add del">
          <ac:chgData name="Eldert Grootenboer" userId="3fe8758b2c2b58d2" providerId="LiveId" clId="{08C7CBF7-62EA-4DF4-9403-E635C0D43567}" dt="2021-01-16T10:21:25.409" v="5"/>
          <ac:spMkLst>
            <pc:docMk/>
            <pc:sldMk cId="891752123" sldId="1997"/>
            <ac:spMk id="26" creationId="{B38B1FC8-38BF-4066-8F4A-12EEC1C1AF64}"/>
          </ac:spMkLst>
        </pc:spChg>
        <pc:spChg chg="add del">
          <ac:chgData name="Eldert Grootenboer" userId="3fe8758b2c2b58d2" providerId="LiveId" clId="{08C7CBF7-62EA-4DF4-9403-E635C0D43567}" dt="2021-01-16T10:21:25.409" v="5"/>
          <ac:spMkLst>
            <pc:docMk/>
            <pc:sldMk cId="891752123" sldId="1997"/>
            <ac:spMk id="33" creationId="{178B4B56-5CC4-4608-A9A9-996108D35B5B}"/>
          </ac:spMkLst>
        </pc:spChg>
      </pc:sldChg>
      <pc:sldChg chg="modSp">
        <pc:chgData name="Eldert Grootenboer" userId="3fe8758b2c2b58d2" providerId="LiveId" clId="{08C7CBF7-62EA-4DF4-9403-E635C0D43567}" dt="2021-01-16T10:21:25.409" v="5"/>
        <pc:sldMkLst>
          <pc:docMk/>
          <pc:sldMk cId="580790234" sldId="1999"/>
        </pc:sldMkLst>
        <pc:spChg chg="mod">
          <ac:chgData name="Eldert Grootenboer" userId="3fe8758b2c2b58d2" providerId="LiveId" clId="{08C7CBF7-62EA-4DF4-9403-E635C0D43567}" dt="2021-01-16T10:21:25.409" v="5"/>
          <ac:spMkLst>
            <pc:docMk/>
            <pc:sldMk cId="580790234" sldId="1999"/>
            <ac:spMk id="2" creationId="{8720CDB7-7FAC-43C9-94E0-D2ADB2E3A30F}"/>
          </ac:spMkLst>
        </pc:spChg>
        <pc:spChg chg="mod">
          <ac:chgData name="Eldert Grootenboer" userId="3fe8758b2c2b58d2" providerId="LiveId" clId="{08C7CBF7-62EA-4DF4-9403-E635C0D43567}" dt="2021-01-16T10:21:25.409" v="5"/>
          <ac:spMkLst>
            <pc:docMk/>
            <pc:sldMk cId="580790234" sldId="1999"/>
            <ac:spMk id="3" creationId="{7B01932C-ECC4-4E8E-98E0-6FD6147DA89D}"/>
          </ac:spMkLst>
        </pc:spChg>
      </pc:sldChg>
      <pc:sldChg chg="modSp">
        <pc:chgData name="Eldert Grootenboer" userId="3fe8758b2c2b58d2" providerId="LiveId" clId="{08C7CBF7-62EA-4DF4-9403-E635C0D43567}" dt="2021-01-16T10:21:25.409" v="5"/>
        <pc:sldMkLst>
          <pc:docMk/>
          <pc:sldMk cId="2030337305" sldId="2000"/>
        </pc:sldMkLst>
        <pc:spChg chg="mod">
          <ac:chgData name="Eldert Grootenboer" userId="3fe8758b2c2b58d2" providerId="LiveId" clId="{08C7CBF7-62EA-4DF4-9403-E635C0D43567}" dt="2021-01-16T10:21:25.409" v="5"/>
          <ac:spMkLst>
            <pc:docMk/>
            <pc:sldMk cId="2030337305" sldId="2000"/>
            <ac:spMk id="2" creationId="{EE453851-9DCA-4A8C-9299-C39614798E6D}"/>
          </ac:spMkLst>
        </pc:spChg>
        <pc:spChg chg="mod">
          <ac:chgData name="Eldert Grootenboer" userId="3fe8758b2c2b58d2" providerId="LiveId" clId="{08C7CBF7-62EA-4DF4-9403-E635C0D43567}" dt="2021-01-16T10:21:25.409" v="5"/>
          <ac:spMkLst>
            <pc:docMk/>
            <pc:sldMk cId="2030337305" sldId="2000"/>
            <ac:spMk id="3" creationId="{F72F5120-CECE-4C50-B909-2C84584698BE}"/>
          </ac:spMkLst>
        </pc:spChg>
      </pc:sldChg>
      <pc:sldChg chg="modSp">
        <pc:chgData name="Eldert Grootenboer" userId="3fe8758b2c2b58d2" providerId="LiveId" clId="{08C7CBF7-62EA-4DF4-9403-E635C0D43567}" dt="2021-01-16T10:21:25.409" v="5"/>
        <pc:sldMkLst>
          <pc:docMk/>
          <pc:sldMk cId="301637476" sldId="2001"/>
        </pc:sldMkLst>
        <pc:spChg chg="mod">
          <ac:chgData name="Eldert Grootenboer" userId="3fe8758b2c2b58d2" providerId="LiveId" clId="{08C7CBF7-62EA-4DF4-9403-E635C0D43567}" dt="2021-01-16T10:21:25.409" v="5"/>
          <ac:spMkLst>
            <pc:docMk/>
            <pc:sldMk cId="301637476" sldId="2001"/>
            <ac:spMk id="2" creationId="{4FED99FF-F113-417D-942B-93259629F84B}"/>
          </ac:spMkLst>
        </pc:spChg>
        <pc:spChg chg="mod">
          <ac:chgData name="Eldert Grootenboer" userId="3fe8758b2c2b58d2" providerId="LiveId" clId="{08C7CBF7-62EA-4DF4-9403-E635C0D43567}" dt="2021-01-16T10:21:25.409" v="5"/>
          <ac:spMkLst>
            <pc:docMk/>
            <pc:sldMk cId="301637476" sldId="2001"/>
            <ac:spMk id="5" creationId="{C9E44565-BF13-45D5-A398-8100E80A4001}"/>
          </ac:spMkLst>
        </pc:spChg>
      </pc:sldChg>
      <pc:sldChg chg="modSp">
        <pc:chgData name="Eldert Grootenboer" userId="3fe8758b2c2b58d2" providerId="LiveId" clId="{08C7CBF7-62EA-4DF4-9403-E635C0D43567}" dt="2021-01-16T10:21:25.409" v="5"/>
        <pc:sldMkLst>
          <pc:docMk/>
          <pc:sldMk cId="337079745" sldId="2004"/>
        </pc:sldMkLst>
        <pc:spChg chg="mod">
          <ac:chgData name="Eldert Grootenboer" userId="3fe8758b2c2b58d2" providerId="LiveId" clId="{08C7CBF7-62EA-4DF4-9403-E635C0D43567}" dt="2021-01-16T10:21:25.409" v="5"/>
          <ac:spMkLst>
            <pc:docMk/>
            <pc:sldMk cId="337079745" sldId="2004"/>
            <ac:spMk id="2" creationId="{4FED99FF-F113-417D-942B-93259629F84B}"/>
          </ac:spMkLst>
        </pc:spChg>
      </pc:sldChg>
      <pc:sldChg chg="modSp">
        <pc:chgData name="Eldert Grootenboer" userId="3fe8758b2c2b58d2" providerId="LiveId" clId="{08C7CBF7-62EA-4DF4-9403-E635C0D43567}" dt="2021-01-16T10:21:25.409" v="5"/>
        <pc:sldMkLst>
          <pc:docMk/>
          <pc:sldMk cId="4091695444" sldId="2008"/>
        </pc:sldMkLst>
        <pc:spChg chg="mod">
          <ac:chgData name="Eldert Grootenboer" userId="3fe8758b2c2b58d2" providerId="LiveId" clId="{08C7CBF7-62EA-4DF4-9403-E635C0D43567}" dt="2021-01-16T10:21:25.409" v="5"/>
          <ac:spMkLst>
            <pc:docMk/>
            <pc:sldMk cId="4091695444" sldId="2008"/>
            <ac:spMk id="2" creationId="{01A2D8A6-74B4-4762-931F-2F419B3AF311}"/>
          </ac:spMkLst>
        </pc:spChg>
      </pc:sldChg>
      <pc:sldChg chg="modSp">
        <pc:chgData name="Eldert Grootenboer" userId="3fe8758b2c2b58d2" providerId="LiveId" clId="{08C7CBF7-62EA-4DF4-9403-E635C0D43567}" dt="2021-01-16T10:21:25.409" v="5"/>
        <pc:sldMkLst>
          <pc:docMk/>
          <pc:sldMk cId="3000799375" sldId="2011"/>
        </pc:sldMkLst>
        <pc:spChg chg="mod">
          <ac:chgData name="Eldert Grootenboer" userId="3fe8758b2c2b58d2" providerId="LiveId" clId="{08C7CBF7-62EA-4DF4-9403-E635C0D43567}" dt="2021-01-16T10:21:25.409" v="5"/>
          <ac:spMkLst>
            <pc:docMk/>
            <pc:sldMk cId="3000799375" sldId="2011"/>
            <ac:spMk id="2" creationId="{01A2D8A6-74B4-4762-931F-2F419B3AF311}"/>
          </ac:spMkLst>
        </pc:spChg>
      </pc:sldChg>
      <pc:sldChg chg="modSp">
        <pc:chgData name="Eldert Grootenboer" userId="3fe8758b2c2b58d2" providerId="LiveId" clId="{08C7CBF7-62EA-4DF4-9403-E635C0D43567}" dt="2021-01-16T10:21:25.409" v="5"/>
        <pc:sldMkLst>
          <pc:docMk/>
          <pc:sldMk cId="234509351" sldId="2012"/>
        </pc:sldMkLst>
        <pc:spChg chg="mod">
          <ac:chgData name="Eldert Grootenboer" userId="3fe8758b2c2b58d2" providerId="LiveId" clId="{08C7CBF7-62EA-4DF4-9403-E635C0D43567}" dt="2021-01-16T10:21:25.409" v="5"/>
          <ac:spMkLst>
            <pc:docMk/>
            <pc:sldMk cId="234509351" sldId="2012"/>
            <ac:spMk id="2" creationId="{98BBE88F-6088-419C-B905-E4EA466E9325}"/>
          </ac:spMkLst>
        </pc:spChg>
      </pc:sldChg>
      <pc:sldChg chg="modSp">
        <pc:chgData name="Eldert Grootenboer" userId="3fe8758b2c2b58d2" providerId="LiveId" clId="{08C7CBF7-62EA-4DF4-9403-E635C0D43567}" dt="2021-01-16T10:21:25.409" v="5"/>
        <pc:sldMkLst>
          <pc:docMk/>
          <pc:sldMk cId="2134694078" sldId="2015"/>
        </pc:sldMkLst>
        <pc:spChg chg="mod">
          <ac:chgData name="Eldert Grootenboer" userId="3fe8758b2c2b58d2" providerId="LiveId" clId="{08C7CBF7-62EA-4DF4-9403-E635C0D43567}" dt="2021-01-16T10:21:25.409" v="5"/>
          <ac:spMkLst>
            <pc:docMk/>
            <pc:sldMk cId="2134694078" sldId="2015"/>
            <ac:spMk id="2" creationId="{4D003617-9920-472D-AA80-D4056280B188}"/>
          </ac:spMkLst>
        </pc:spChg>
      </pc:sldChg>
      <pc:sldChg chg="modSp">
        <pc:chgData name="Eldert Grootenboer" userId="3fe8758b2c2b58d2" providerId="LiveId" clId="{08C7CBF7-62EA-4DF4-9403-E635C0D43567}" dt="2021-01-16T10:21:25.409" v="5"/>
        <pc:sldMkLst>
          <pc:docMk/>
          <pc:sldMk cId="3065245557" sldId="2016"/>
        </pc:sldMkLst>
        <pc:spChg chg="mod">
          <ac:chgData name="Eldert Grootenboer" userId="3fe8758b2c2b58d2" providerId="LiveId" clId="{08C7CBF7-62EA-4DF4-9403-E635C0D43567}" dt="2021-01-16T10:21:25.409" v="5"/>
          <ac:spMkLst>
            <pc:docMk/>
            <pc:sldMk cId="3065245557" sldId="2016"/>
            <ac:spMk id="2" creationId="{EA852C78-2140-4C27-A015-FCD129D7FFAA}"/>
          </ac:spMkLst>
        </pc:spChg>
      </pc:sldChg>
      <pc:sldChg chg="modSp">
        <pc:chgData name="Eldert Grootenboer" userId="3fe8758b2c2b58d2" providerId="LiveId" clId="{08C7CBF7-62EA-4DF4-9403-E635C0D43567}" dt="2021-01-16T10:21:25.409" v="5"/>
        <pc:sldMkLst>
          <pc:docMk/>
          <pc:sldMk cId="288201920" sldId="2017"/>
        </pc:sldMkLst>
        <pc:spChg chg="mod">
          <ac:chgData name="Eldert Grootenboer" userId="3fe8758b2c2b58d2" providerId="LiveId" clId="{08C7CBF7-62EA-4DF4-9403-E635C0D43567}" dt="2021-01-16T10:21:25.409" v="5"/>
          <ac:spMkLst>
            <pc:docMk/>
            <pc:sldMk cId="288201920" sldId="2017"/>
            <ac:spMk id="2" creationId="{2C93083C-A141-41AA-ACA1-5BC2DD138AD6}"/>
          </ac:spMkLst>
        </pc:spChg>
      </pc:sldChg>
      <pc:sldChg chg="modSp">
        <pc:chgData name="Eldert Grootenboer" userId="3fe8758b2c2b58d2" providerId="LiveId" clId="{08C7CBF7-62EA-4DF4-9403-E635C0D43567}" dt="2021-01-16T10:21:25.409" v="5"/>
        <pc:sldMkLst>
          <pc:docMk/>
          <pc:sldMk cId="3722787351" sldId="2018"/>
        </pc:sldMkLst>
        <pc:spChg chg="mod">
          <ac:chgData name="Eldert Grootenboer" userId="3fe8758b2c2b58d2" providerId="LiveId" clId="{08C7CBF7-62EA-4DF4-9403-E635C0D43567}" dt="2021-01-16T10:21:25.409" v="5"/>
          <ac:spMkLst>
            <pc:docMk/>
            <pc:sldMk cId="3722787351" sldId="2018"/>
            <ac:spMk id="2" creationId="{8720CDB7-7FAC-43C9-94E0-D2ADB2E3A30F}"/>
          </ac:spMkLst>
        </pc:spChg>
        <pc:spChg chg="mod">
          <ac:chgData name="Eldert Grootenboer" userId="3fe8758b2c2b58d2" providerId="LiveId" clId="{08C7CBF7-62EA-4DF4-9403-E635C0D43567}" dt="2021-01-16T10:21:25.409" v="5"/>
          <ac:spMkLst>
            <pc:docMk/>
            <pc:sldMk cId="3722787351" sldId="2018"/>
            <ac:spMk id="3" creationId="{7B01932C-ECC4-4E8E-98E0-6FD6147DA89D}"/>
          </ac:spMkLst>
        </pc:spChg>
      </pc:sldChg>
      <pc:sldChg chg="modSp">
        <pc:chgData name="Eldert Grootenboer" userId="3fe8758b2c2b58d2" providerId="LiveId" clId="{08C7CBF7-62EA-4DF4-9403-E635C0D43567}" dt="2021-01-16T10:21:25.409" v="5"/>
        <pc:sldMkLst>
          <pc:docMk/>
          <pc:sldMk cId="1638331846" sldId="2019"/>
        </pc:sldMkLst>
        <pc:spChg chg="mod">
          <ac:chgData name="Eldert Grootenboer" userId="3fe8758b2c2b58d2" providerId="LiveId" clId="{08C7CBF7-62EA-4DF4-9403-E635C0D43567}" dt="2021-01-16T10:21:25.409" v="5"/>
          <ac:spMkLst>
            <pc:docMk/>
            <pc:sldMk cId="1638331846" sldId="2019"/>
            <ac:spMk id="2" creationId="{EE453851-9DCA-4A8C-9299-C39614798E6D}"/>
          </ac:spMkLst>
        </pc:spChg>
        <pc:spChg chg="mod">
          <ac:chgData name="Eldert Grootenboer" userId="3fe8758b2c2b58d2" providerId="LiveId" clId="{08C7CBF7-62EA-4DF4-9403-E635C0D43567}" dt="2021-01-16T10:21:25.409" v="5"/>
          <ac:spMkLst>
            <pc:docMk/>
            <pc:sldMk cId="1638331846" sldId="2019"/>
            <ac:spMk id="3" creationId="{F72F5120-CECE-4C50-B909-2C84584698BE}"/>
          </ac:spMkLst>
        </pc:spChg>
      </pc:sldChg>
      <pc:sldChg chg="modSp">
        <pc:chgData name="Eldert Grootenboer" userId="3fe8758b2c2b58d2" providerId="LiveId" clId="{08C7CBF7-62EA-4DF4-9403-E635C0D43567}" dt="2021-01-16T10:21:25.409" v="5"/>
        <pc:sldMkLst>
          <pc:docMk/>
          <pc:sldMk cId="682702996" sldId="2020"/>
        </pc:sldMkLst>
        <pc:spChg chg="mod">
          <ac:chgData name="Eldert Grootenboer" userId="3fe8758b2c2b58d2" providerId="LiveId" clId="{08C7CBF7-62EA-4DF4-9403-E635C0D43567}" dt="2021-01-16T10:21:25.409" v="5"/>
          <ac:spMkLst>
            <pc:docMk/>
            <pc:sldMk cId="682702996" sldId="2020"/>
            <ac:spMk id="4" creationId="{D87D5CC4-3923-4504-88B7-CCACA70CB3B8}"/>
          </ac:spMkLst>
        </pc:spChg>
        <pc:picChg chg="mod">
          <ac:chgData name="Eldert Grootenboer" userId="3fe8758b2c2b58d2" providerId="LiveId" clId="{08C7CBF7-62EA-4DF4-9403-E635C0D43567}" dt="2021-01-16T10:21:25.409" v="5"/>
          <ac:picMkLst>
            <pc:docMk/>
            <pc:sldMk cId="682702996" sldId="2020"/>
            <ac:picMk id="2058" creationId="{5A537FB3-9DB1-4594-B787-A1E4021F5621}"/>
          </ac:picMkLst>
        </pc:picChg>
      </pc:sldChg>
      <pc:sldChg chg="modSp">
        <pc:chgData name="Eldert Grootenboer" userId="3fe8758b2c2b58d2" providerId="LiveId" clId="{08C7CBF7-62EA-4DF4-9403-E635C0D43567}" dt="2021-01-16T10:21:25.409" v="5"/>
        <pc:sldMkLst>
          <pc:docMk/>
          <pc:sldMk cId="3873646075" sldId="2021"/>
        </pc:sldMkLst>
        <pc:spChg chg="mod">
          <ac:chgData name="Eldert Grootenboer" userId="3fe8758b2c2b58d2" providerId="LiveId" clId="{08C7CBF7-62EA-4DF4-9403-E635C0D43567}" dt="2021-01-16T10:21:25.409" v="5"/>
          <ac:spMkLst>
            <pc:docMk/>
            <pc:sldMk cId="3873646075" sldId="2021"/>
            <ac:spMk id="10" creationId="{45E7359C-7CB0-41AD-BF51-38BED42ECC16}"/>
          </ac:spMkLst>
        </pc:spChg>
        <pc:picChg chg="mod">
          <ac:chgData name="Eldert Grootenboer" userId="3fe8758b2c2b58d2" providerId="LiveId" clId="{08C7CBF7-62EA-4DF4-9403-E635C0D43567}" dt="2021-01-16T10:21:25.409" v="5"/>
          <ac:picMkLst>
            <pc:docMk/>
            <pc:sldMk cId="3873646075" sldId="2021"/>
            <ac:picMk id="3076" creationId="{1D1F62EC-68AF-43EC-A204-5059858D23C3}"/>
          </ac:picMkLst>
        </pc:picChg>
      </pc:sldChg>
      <pc:sldChg chg="modSp">
        <pc:chgData name="Eldert Grootenboer" userId="3fe8758b2c2b58d2" providerId="LiveId" clId="{08C7CBF7-62EA-4DF4-9403-E635C0D43567}" dt="2021-01-16T10:21:25.409" v="5"/>
        <pc:sldMkLst>
          <pc:docMk/>
          <pc:sldMk cId="3914615215" sldId="2022"/>
        </pc:sldMkLst>
        <pc:spChg chg="mod">
          <ac:chgData name="Eldert Grootenboer" userId="3fe8758b2c2b58d2" providerId="LiveId" clId="{08C7CBF7-62EA-4DF4-9403-E635C0D43567}" dt="2021-01-16T10:21:25.409" v="5"/>
          <ac:spMkLst>
            <pc:docMk/>
            <pc:sldMk cId="3914615215" sldId="2022"/>
            <ac:spMk id="4" creationId="{6079530C-1F73-4B83-8878-CB069422A3C3}"/>
          </ac:spMkLst>
        </pc:spChg>
        <pc:picChg chg="mod">
          <ac:chgData name="Eldert Grootenboer" userId="3fe8758b2c2b58d2" providerId="LiveId" clId="{08C7CBF7-62EA-4DF4-9403-E635C0D43567}" dt="2021-01-16T10:21:25.409" v="5"/>
          <ac:picMkLst>
            <pc:docMk/>
            <pc:sldMk cId="3914615215" sldId="2022"/>
            <ac:picMk id="6" creationId="{22FF8721-4A42-41AF-85DE-E1DB0071CCFC}"/>
          </ac:picMkLst>
        </pc:picChg>
      </pc:sldChg>
      <pc:sldChg chg="modSp">
        <pc:chgData name="Eldert Grootenboer" userId="3fe8758b2c2b58d2" providerId="LiveId" clId="{08C7CBF7-62EA-4DF4-9403-E635C0D43567}" dt="2021-01-16T10:21:25.409" v="5"/>
        <pc:sldMkLst>
          <pc:docMk/>
          <pc:sldMk cId="1757049851" sldId="2023"/>
        </pc:sldMkLst>
        <pc:spChg chg="mod">
          <ac:chgData name="Eldert Grootenboer" userId="3fe8758b2c2b58d2" providerId="LiveId" clId="{08C7CBF7-62EA-4DF4-9403-E635C0D43567}" dt="2021-01-16T10:21:25.409" v="5"/>
          <ac:spMkLst>
            <pc:docMk/>
            <pc:sldMk cId="1757049851" sldId="2023"/>
            <ac:spMk id="4" creationId="{28995E2D-6A0A-4993-8FAD-FCAF6B22E92D}"/>
          </ac:spMkLst>
        </pc:spChg>
        <pc:picChg chg="mod">
          <ac:chgData name="Eldert Grootenboer" userId="3fe8758b2c2b58d2" providerId="LiveId" clId="{08C7CBF7-62EA-4DF4-9403-E635C0D43567}" dt="2021-01-16T10:21:25.409" v="5"/>
          <ac:picMkLst>
            <pc:docMk/>
            <pc:sldMk cId="1757049851" sldId="2023"/>
            <ac:picMk id="4098" creationId="{2501986F-F284-4E7C-BBAD-C7A424E8C3C7}"/>
          </ac:picMkLst>
        </pc:picChg>
      </pc:sldChg>
      <pc:sldChg chg="modSp">
        <pc:chgData name="Eldert Grootenboer" userId="3fe8758b2c2b58d2" providerId="LiveId" clId="{08C7CBF7-62EA-4DF4-9403-E635C0D43567}" dt="2021-01-16T10:21:25.409" v="5"/>
        <pc:sldMkLst>
          <pc:docMk/>
          <pc:sldMk cId="3581374232" sldId="2024"/>
        </pc:sldMkLst>
        <pc:spChg chg="mod">
          <ac:chgData name="Eldert Grootenboer" userId="3fe8758b2c2b58d2" providerId="LiveId" clId="{08C7CBF7-62EA-4DF4-9403-E635C0D43567}" dt="2021-01-16T10:21:25.409" v="5"/>
          <ac:spMkLst>
            <pc:docMk/>
            <pc:sldMk cId="3581374232" sldId="2024"/>
            <ac:spMk id="2" creationId="{9B0FAE6A-A55E-4B7A-B9B9-942A5706D70F}"/>
          </ac:spMkLst>
        </pc:spChg>
        <pc:picChg chg="mod">
          <ac:chgData name="Eldert Grootenboer" userId="3fe8758b2c2b58d2" providerId="LiveId" clId="{08C7CBF7-62EA-4DF4-9403-E635C0D43567}" dt="2021-01-16T10:21:25.409" v="5"/>
          <ac:picMkLst>
            <pc:docMk/>
            <pc:sldMk cId="3581374232" sldId="2024"/>
            <ac:picMk id="5122" creationId="{CD0BAF99-86BD-4DD7-8940-657D51CCB872}"/>
          </ac:picMkLst>
        </pc:picChg>
      </pc:sldChg>
      <pc:sldChg chg="modSp">
        <pc:chgData name="Eldert Grootenboer" userId="3fe8758b2c2b58d2" providerId="LiveId" clId="{08C7CBF7-62EA-4DF4-9403-E635C0D43567}" dt="2021-01-16T10:21:25.409" v="5"/>
        <pc:sldMkLst>
          <pc:docMk/>
          <pc:sldMk cId="1227949151" sldId="2025"/>
        </pc:sldMkLst>
        <pc:spChg chg="mod">
          <ac:chgData name="Eldert Grootenboer" userId="3fe8758b2c2b58d2" providerId="LiveId" clId="{08C7CBF7-62EA-4DF4-9403-E635C0D43567}" dt="2021-01-16T10:21:25.409" v="5"/>
          <ac:spMkLst>
            <pc:docMk/>
            <pc:sldMk cId="1227949151" sldId="2025"/>
            <ac:spMk id="3" creationId="{2D82AE10-D166-4377-A4DE-EA7ABA9E03FD}"/>
          </ac:spMkLst>
        </pc:spChg>
        <pc:picChg chg="mod">
          <ac:chgData name="Eldert Grootenboer" userId="3fe8758b2c2b58d2" providerId="LiveId" clId="{08C7CBF7-62EA-4DF4-9403-E635C0D43567}" dt="2021-01-16T10:21:25.409" v="5"/>
          <ac:picMkLst>
            <pc:docMk/>
            <pc:sldMk cId="1227949151" sldId="2025"/>
            <ac:picMk id="6146" creationId="{587E9859-CD3A-4356-9128-5FD7682BA167}"/>
          </ac:picMkLst>
        </pc:picChg>
      </pc:sldChg>
      <pc:sldChg chg="modSp">
        <pc:chgData name="Eldert Grootenboer" userId="3fe8758b2c2b58d2" providerId="LiveId" clId="{08C7CBF7-62EA-4DF4-9403-E635C0D43567}" dt="2021-01-16T10:21:25.409" v="5"/>
        <pc:sldMkLst>
          <pc:docMk/>
          <pc:sldMk cId="715254139" sldId="2026"/>
        </pc:sldMkLst>
        <pc:spChg chg="mod">
          <ac:chgData name="Eldert Grootenboer" userId="3fe8758b2c2b58d2" providerId="LiveId" clId="{08C7CBF7-62EA-4DF4-9403-E635C0D43567}" dt="2021-01-16T10:21:25.409" v="5"/>
          <ac:spMkLst>
            <pc:docMk/>
            <pc:sldMk cId="715254139" sldId="2026"/>
            <ac:spMk id="4" creationId="{FF935DC8-B243-4F76-8158-E84DEC733BDF}"/>
          </ac:spMkLst>
        </pc:spChg>
        <pc:spChg chg="mod">
          <ac:chgData name="Eldert Grootenboer" userId="3fe8758b2c2b58d2" providerId="LiveId" clId="{08C7CBF7-62EA-4DF4-9403-E635C0D43567}" dt="2021-01-16T10:21:25.409" v="5"/>
          <ac:spMkLst>
            <pc:docMk/>
            <pc:sldMk cId="715254139" sldId="2026"/>
            <ac:spMk id="18" creationId="{2DAF66EE-5050-4FCB-AFCA-1C9D005C62EC}"/>
          </ac:spMkLst>
        </pc:spChg>
      </pc:sldChg>
      <pc:sldChg chg="modSp">
        <pc:chgData name="Eldert Grootenboer" userId="3fe8758b2c2b58d2" providerId="LiveId" clId="{08C7CBF7-62EA-4DF4-9403-E635C0D43567}" dt="2021-01-16T10:21:25.409" v="5"/>
        <pc:sldMkLst>
          <pc:docMk/>
          <pc:sldMk cId="3919401798" sldId="2028"/>
        </pc:sldMkLst>
        <pc:spChg chg="mod">
          <ac:chgData name="Eldert Grootenboer" userId="3fe8758b2c2b58d2" providerId="LiveId" clId="{08C7CBF7-62EA-4DF4-9403-E635C0D43567}" dt="2021-01-16T10:21:25.409" v="5"/>
          <ac:spMkLst>
            <pc:docMk/>
            <pc:sldMk cId="3919401798" sldId="2028"/>
            <ac:spMk id="2" creationId="{1DD1ACA5-C2AE-4391-9722-57FF01465FE6}"/>
          </ac:spMkLst>
        </pc:spChg>
      </pc:sldChg>
      <pc:sldChg chg="addSp delSp delDesignElem">
        <pc:chgData name="Eldert Grootenboer" userId="3fe8758b2c2b58d2" providerId="LiveId" clId="{08C7CBF7-62EA-4DF4-9403-E635C0D43567}" dt="2021-01-16T10:21:25.409" v="5"/>
        <pc:sldMkLst>
          <pc:docMk/>
          <pc:sldMk cId="1740525124" sldId="2029"/>
        </pc:sldMkLst>
        <pc:spChg chg="add del">
          <ac:chgData name="Eldert Grootenboer" userId="3fe8758b2c2b58d2" providerId="LiveId" clId="{08C7CBF7-62EA-4DF4-9403-E635C0D43567}" dt="2021-01-16T10:21:25.409" v="5"/>
          <ac:spMkLst>
            <pc:docMk/>
            <pc:sldMk cId="1740525124" sldId="2029"/>
            <ac:spMk id="16" creationId="{71B2258F-86CA-4D4D-8270-BC05FCDEBFB3}"/>
          </ac:spMkLst>
        </pc:spChg>
      </pc:sldChg>
      <pc:sldChg chg="modSp">
        <pc:chgData name="Eldert Grootenboer" userId="3fe8758b2c2b58d2" providerId="LiveId" clId="{08C7CBF7-62EA-4DF4-9403-E635C0D43567}" dt="2021-01-16T10:21:25.409" v="5"/>
        <pc:sldMkLst>
          <pc:docMk/>
          <pc:sldMk cId="2854366832" sldId="2034"/>
        </pc:sldMkLst>
        <pc:spChg chg="mod">
          <ac:chgData name="Eldert Grootenboer" userId="3fe8758b2c2b58d2" providerId="LiveId" clId="{08C7CBF7-62EA-4DF4-9403-E635C0D43567}" dt="2021-01-16T10:21:25.409" v="5"/>
          <ac:spMkLst>
            <pc:docMk/>
            <pc:sldMk cId="2854366832" sldId="2034"/>
            <ac:spMk id="4" creationId="{931C111F-846F-450B-8D3B-2F2B65EAFF13}"/>
          </ac:spMkLst>
        </pc:spChg>
      </pc:sldChg>
      <pc:sldChg chg="addSp delSp delDesignElem">
        <pc:chgData name="Eldert Grootenboer" userId="3fe8758b2c2b58d2" providerId="LiveId" clId="{08C7CBF7-62EA-4DF4-9403-E635C0D43567}" dt="2021-01-16T10:21:25.409" v="5"/>
        <pc:sldMkLst>
          <pc:docMk/>
          <pc:sldMk cId="2830456987" sldId="2036"/>
        </pc:sldMkLst>
        <pc:spChg chg="add del">
          <ac:chgData name="Eldert Grootenboer" userId="3fe8758b2c2b58d2" providerId="LiveId" clId="{08C7CBF7-62EA-4DF4-9403-E635C0D43567}" dt="2021-01-16T10:21:25.409" v="5"/>
          <ac:spMkLst>
            <pc:docMk/>
            <pc:sldMk cId="2830456987" sldId="2036"/>
            <ac:spMk id="20" creationId="{BCC55ACC-A2F6-403C-A3A4-D59B3734D45F}"/>
          </ac:spMkLst>
        </pc:spChg>
      </pc:sldChg>
      <pc:sldChg chg="addSp delSp delDesignElem">
        <pc:chgData name="Eldert Grootenboer" userId="3fe8758b2c2b58d2" providerId="LiveId" clId="{08C7CBF7-62EA-4DF4-9403-E635C0D43567}" dt="2021-01-16T10:21:25.409" v="5"/>
        <pc:sldMkLst>
          <pc:docMk/>
          <pc:sldMk cId="2372653899" sldId="2037"/>
        </pc:sldMkLst>
        <pc:spChg chg="add del">
          <ac:chgData name="Eldert Grootenboer" userId="3fe8758b2c2b58d2" providerId="LiveId" clId="{08C7CBF7-62EA-4DF4-9403-E635C0D43567}" dt="2021-01-16T10:21:25.409" v="5"/>
          <ac:spMkLst>
            <pc:docMk/>
            <pc:sldMk cId="2372653899" sldId="2037"/>
            <ac:spMk id="12" creationId="{B26D9126-4D1A-435C-92FD-2EFD34104B27}"/>
          </ac:spMkLst>
        </pc:spChg>
        <pc:spChg chg="add del">
          <ac:chgData name="Eldert Grootenboer" userId="3fe8758b2c2b58d2" providerId="LiveId" clId="{08C7CBF7-62EA-4DF4-9403-E635C0D43567}" dt="2021-01-16T10:21:25.409" v="5"/>
          <ac:spMkLst>
            <pc:docMk/>
            <pc:sldMk cId="2372653899" sldId="2037"/>
            <ac:spMk id="14" creationId="{8A177BCC-4208-4795-8572-4D623BA1E2A0}"/>
          </ac:spMkLst>
        </pc:spChg>
      </pc:sldChg>
      <pc:sldMasterChg chg="addSp modTransition modSldLayout">
        <pc:chgData name="Eldert Grootenboer" userId="3fe8758b2c2b58d2" providerId="LiveId" clId="{08C7CBF7-62EA-4DF4-9403-E635C0D43567}" dt="2021-01-16T10:21:25.409" v="5"/>
        <pc:sldMasterMkLst>
          <pc:docMk/>
          <pc:sldMasterMk cId="3981876925" sldId="2147483700"/>
        </pc:sldMasterMkLst>
        <pc:spChg chg="add">
          <ac:chgData name="Eldert Grootenboer" userId="3fe8758b2c2b58d2" providerId="LiveId" clId="{08C7CBF7-62EA-4DF4-9403-E635C0D43567}" dt="2021-01-16T10:21:17.125" v="4"/>
          <ac:spMkLst>
            <pc:docMk/>
            <pc:sldMasterMk cId="3981876925" sldId="2147483700"/>
            <ac:spMk id="7" creationId="{9EF2C5DB-60AD-43B7-B78B-C6D2DAB34B4C}"/>
          </ac:spMkLst>
        </pc:spChg>
        <pc:sldLayoutChg chg="modSp">
          <pc:chgData name="Eldert Grootenboer" userId="3fe8758b2c2b58d2" providerId="LiveId" clId="{08C7CBF7-62EA-4DF4-9403-E635C0D43567}" dt="2021-01-16T10:21:25.409" v="5"/>
          <pc:sldLayoutMkLst>
            <pc:docMk/>
            <pc:sldMasterMk cId="3410068544" sldId="2147483683"/>
            <pc:sldLayoutMk cId="3690441207" sldId="2147483686"/>
          </pc:sldLayoutMkLst>
          <pc:spChg chg="mod">
            <ac:chgData name="Eldert Grootenboer" userId="3fe8758b2c2b58d2" providerId="LiveId" clId="{08C7CBF7-62EA-4DF4-9403-E635C0D43567}" dt="2021-01-16T10:21:25.409" v="5"/>
            <ac:spMkLst>
              <pc:docMk/>
              <pc:sldMasterMk cId="3410068544" sldId="2147483683"/>
              <pc:sldLayoutMk cId="3690441207" sldId="2147483686"/>
              <ac:spMk id="4" creationId="{08D06B8E-BF0F-4032-B72E-6307AF172F06}"/>
            </ac:spMkLst>
          </pc:spChg>
          <pc:spChg chg="mod">
            <ac:chgData name="Eldert Grootenboer" userId="3fe8758b2c2b58d2" providerId="LiveId" clId="{08C7CBF7-62EA-4DF4-9403-E635C0D43567}" dt="2021-01-16T10:21:25.409" v="5"/>
            <ac:spMkLst>
              <pc:docMk/>
              <pc:sldMasterMk cId="3410068544" sldId="2147483683"/>
              <pc:sldLayoutMk cId="3690441207" sldId="2147483686"/>
              <ac:spMk id="5" creationId="{83E7BE0B-00E7-47A7-9F57-E9E838527EDF}"/>
            </ac:spMkLst>
          </pc:spChg>
        </pc:sldLayoutChg>
        <pc:sldLayoutChg chg="modTransition">
          <pc:chgData name="Eldert Grootenboer" userId="3fe8758b2c2b58d2" providerId="LiveId" clId="{08C7CBF7-62EA-4DF4-9403-E635C0D43567}" dt="2021-01-16T10:21:25.409" v="5"/>
          <pc:sldLayoutMkLst>
            <pc:docMk/>
            <pc:sldMasterMk cId="3981876925" sldId="2147483700"/>
            <pc:sldLayoutMk cId="1583502052" sldId="2147483701"/>
          </pc:sldLayoutMkLst>
        </pc:sldLayoutChg>
        <pc:sldLayoutChg chg="modTransition">
          <pc:chgData name="Eldert Grootenboer" userId="3fe8758b2c2b58d2" providerId="LiveId" clId="{08C7CBF7-62EA-4DF4-9403-E635C0D43567}" dt="2021-01-16T10:21:25.409" v="5"/>
          <pc:sldLayoutMkLst>
            <pc:docMk/>
            <pc:sldMasterMk cId="3981876925" sldId="2147483700"/>
            <pc:sldLayoutMk cId="4008717942" sldId="2147483702"/>
          </pc:sldLayoutMkLst>
        </pc:sldLayoutChg>
        <pc:sldLayoutChg chg="modTransition">
          <pc:chgData name="Eldert Grootenboer" userId="3fe8758b2c2b58d2" providerId="LiveId" clId="{08C7CBF7-62EA-4DF4-9403-E635C0D43567}" dt="2021-01-16T10:21:25.409" v="5"/>
          <pc:sldLayoutMkLst>
            <pc:docMk/>
            <pc:sldMasterMk cId="3981876925" sldId="2147483700"/>
            <pc:sldLayoutMk cId="362701296" sldId="2147483706"/>
          </pc:sldLayoutMkLst>
        </pc:sldLayoutChg>
        <pc:sldLayoutChg chg="modTransition">
          <pc:chgData name="Eldert Grootenboer" userId="3fe8758b2c2b58d2" providerId="LiveId" clId="{08C7CBF7-62EA-4DF4-9403-E635C0D43567}" dt="2021-01-16T10:21:25.409" v="5"/>
          <pc:sldLayoutMkLst>
            <pc:docMk/>
            <pc:sldMasterMk cId="3981876925" sldId="2147483700"/>
            <pc:sldLayoutMk cId="2440206201" sldId="2147483707"/>
          </pc:sldLayoutMkLst>
        </pc:sldLayoutChg>
        <pc:sldLayoutChg chg="modTransition">
          <pc:chgData name="Eldert Grootenboer" userId="3fe8758b2c2b58d2" providerId="LiveId" clId="{08C7CBF7-62EA-4DF4-9403-E635C0D43567}" dt="2021-01-16T10:21:25.409" v="5"/>
          <pc:sldLayoutMkLst>
            <pc:docMk/>
            <pc:sldMasterMk cId="3981876925" sldId="2147483700"/>
            <pc:sldLayoutMk cId="3066471073" sldId="2147483708"/>
          </pc:sldLayoutMkLst>
        </pc:sldLayoutChg>
        <pc:sldLayoutChg chg="modTransition">
          <pc:chgData name="Eldert Grootenboer" userId="3fe8758b2c2b58d2" providerId="LiveId" clId="{08C7CBF7-62EA-4DF4-9403-E635C0D43567}" dt="2021-01-16T10:21:25.409" v="5"/>
          <pc:sldLayoutMkLst>
            <pc:docMk/>
            <pc:sldMasterMk cId="3981876925" sldId="2147483700"/>
            <pc:sldLayoutMk cId="1380518530" sldId="2147483709"/>
          </pc:sldLayoutMkLst>
        </pc:sldLayoutChg>
        <pc:sldLayoutChg chg="modTransition">
          <pc:chgData name="Eldert Grootenboer" userId="3fe8758b2c2b58d2" providerId="LiveId" clId="{08C7CBF7-62EA-4DF4-9403-E635C0D43567}" dt="2021-01-16T10:21:25.409" v="5"/>
          <pc:sldLayoutMkLst>
            <pc:docMk/>
            <pc:sldMasterMk cId="3981876925" sldId="2147483700"/>
            <pc:sldLayoutMk cId="1120113964" sldId="2147483710"/>
          </pc:sldLayoutMkLst>
        </pc:sldLayoutChg>
        <pc:sldLayoutChg chg="modTransition">
          <pc:chgData name="Eldert Grootenboer" userId="3fe8758b2c2b58d2" providerId="LiveId" clId="{08C7CBF7-62EA-4DF4-9403-E635C0D43567}" dt="2021-01-16T10:21:25.409" v="5"/>
          <pc:sldLayoutMkLst>
            <pc:docMk/>
            <pc:sldMasterMk cId="3981876925" sldId="2147483700"/>
            <pc:sldLayoutMk cId="797998642" sldId="2147483711"/>
          </pc:sldLayoutMkLst>
        </pc:sldLayoutChg>
      </pc:sldMasterChg>
    </pc:docChg>
  </pc:docChgLst>
  <pc:docChgLst>
    <pc:chgData name="Eldert Grootenboer" userId="3fe8758b2c2b58d2" providerId="LiveId" clId="{D7366423-816A-4211-87D1-EB036CD46984}"/>
    <pc:docChg chg="undo custSel delSld modSld delMainMaster modSection">
      <pc:chgData name="Eldert Grootenboer" userId="3fe8758b2c2b58d2" providerId="LiveId" clId="{D7366423-816A-4211-87D1-EB036CD46984}" dt="2021-04-19T09:05:10.776" v="5" actId="20577"/>
      <pc:docMkLst>
        <pc:docMk/>
      </pc:docMkLst>
      <pc:sldChg chg="del">
        <pc:chgData name="Eldert Grootenboer" userId="3fe8758b2c2b58d2" providerId="LiveId" clId="{D7366423-816A-4211-87D1-EB036CD46984}" dt="2021-04-19T09:03:34.625" v="0" actId="47"/>
        <pc:sldMkLst>
          <pc:docMk/>
          <pc:sldMk cId="1340261549" sldId="257"/>
        </pc:sldMkLst>
      </pc:sldChg>
      <pc:sldChg chg="del">
        <pc:chgData name="Eldert Grootenboer" userId="3fe8758b2c2b58d2" providerId="LiveId" clId="{D7366423-816A-4211-87D1-EB036CD46984}" dt="2021-04-19T09:03:34.625" v="0" actId="47"/>
        <pc:sldMkLst>
          <pc:docMk/>
          <pc:sldMk cId="1618584761" sldId="258"/>
        </pc:sldMkLst>
      </pc:sldChg>
      <pc:sldChg chg="del">
        <pc:chgData name="Eldert Grootenboer" userId="3fe8758b2c2b58d2" providerId="LiveId" clId="{D7366423-816A-4211-87D1-EB036CD46984}" dt="2021-04-19T09:03:34.625" v="0" actId="47"/>
        <pc:sldMkLst>
          <pc:docMk/>
          <pc:sldMk cId="1330076559" sldId="317"/>
        </pc:sldMkLst>
      </pc:sldChg>
      <pc:sldChg chg="mod modShow">
        <pc:chgData name="Eldert Grootenboer" userId="3fe8758b2c2b58d2" providerId="LiveId" clId="{D7366423-816A-4211-87D1-EB036CD46984}" dt="2021-04-19T09:04:25.476" v="2" actId="729"/>
        <pc:sldMkLst>
          <pc:docMk/>
          <pc:sldMk cId="3934477733" sldId="1620"/>
        </pc:sldMkLst>
      </pc:sldChg>
      <pc:sldChg chg="mod modShow">
        <pc:chgData name="Eldert Grootenboer" userId="3fe8758b2c2b58d2" providerId="LiveId" clId="{D7366423-816A-4211-87D1-EB036CD46984}" dt="2021-04-19T09:03:40.651" v="1" actId="729"/>
        <pc:sldMkLst>
          <pc:docMk/>
          <pc:sldMk cId="2743749799" sldId="1863"/>
        </pc:sldMkLst>
      </pc:sldChg>
      <pc:sldChg chg="mod modShow">
        <pc:chgData name="Eldert Grootenboer" userId="3fe8758b2c2b58d2" providerId="LiveId" clId="{D7366423-816A-4211-87D1-EB036CD46984}" dt="2021-04-19T09:04:25.476" v="2" actId="729"/>
        <pc:sldMkLst>
          <pc:docMk/>
          <pc:sldMk cId="301637476" sldId="2001"/>
        </pc:sldMkLst>
      </pc:sldChg>
      <pc:sldChg chg="mod modShow">
        <pc:chgData name="Eldert Grootenboer" userId="3fe8758b2c2b58d2" providerId="LiveId" clId="{D7366423-816A-4211-87D1-EB036CD46984}" dt="2021-04-19T09:04:25.476" v="2" actId="729"/>
        <pc:sldMkLst>
          <pc:docMk/>
          <pc:sldMk cId="3873646075" sldId="2021"/>
        </pc:sldMkLst>
      </pc:sldChg>
      <pc:sldChg chg="modNotesTx">
        <pc:chgData name="Eldert Grootenboer" userId="3fe8758b2c2b58d2" providerId="LiveId" clId="{D7366423-816A-4211-87D1-EB036CD46984}" dt="2021-04-19T09:05:10.776" v="5" actId="20577"/>
        <pc:sldMkLst>
          <pc:docMk/>
          <pc:sldMk cId="3581374232" sldId="2024"/>
        </pc:sldMkLst>
      </pc:sldChg>
      <pc:sldMasterChg chg="del delSldLayout">
        <pc:chgData name="Eldert Grootenboer" userId="3fe8758b2c2b58d2" providerId="LiveId" clId="{D7366423-816A-4211-87D1-EB036CD46984}" dt="2021-04-19T09:03:34.625" v="0" actId="47"/>
        <pc:sldMasterMkLst>
          <pc:docMk/>
          <pc:sldMasterMk cId="1006350638" sldId="2147483700"/>
        </pc:sldMasterMkLst>
        <pc:sldLayoutChg chg="del">
          <pc:chgData name="Eldert Grootenboer" userId="3fe8758b2c2b58d2" providerId="LiveId" clId="{D7366423-816A-4211-87D1-EB036CD46984}" dt="2021-04-19T09:03:34.625" v="0" actId="47"/>
          <pc:sldLayoutMkLst>
            <pc:docMk/>
            <pc:sldMasterMk cId="1006350638" sldId="2147483700"/>
            <pc:sldLayoutMk cId="3600625644" sldId="2147483701"/>
          </pc:sldLayoutMkLst>
        </pc:sldLayoutChg>
        <pc:sldLayoutChg chg="del">
          <pc:chgData name="Eldert Grootenboer" userId="3fe8758b2c2b58d2" providerId="LiveId" clId="{D7366423-816A-4211-87D1-EB036CD46984}" dt="2021-04-19T09:03:34.625" v="0" actId="47"/>
          <pc:sldLayoutMkLst>
            <pc:docMk/>
            <pc:sldMasterMk cId="1006350638" sldId="2147483700"/>
            <pc:sldLayoutMk cId="2485309433" sldId="2147483702"/>
          </pc:sldLayoutMkLst>
        </pc:sldLayoutChg>
        <pc:sldLayoutChg chg="del">
          <pc:chgData name="Eldert Grootenboer" userId="3fe8758b2c2b58d2" providerId="LiveId" clId="{D7366423-816A-4211-87D1-EB036CD46984}" dt="2021-04-19T09:03:34.625" v="0" actId="47"/>
          <pc:sldLayoutMkLst>
            <pc:docMk/>
            <pc:sldMasterMk cId="1006350638" sldId="2147483700"/>
            <pc:sldLayoutMk cId="1038424152" sldId="2147483703"/>
          </pc:sldLayoutMkLst>
        </pc:sldLayoutChg>
        <pc:sldLayoutChg chg="del">
          <pc:chgData name="Eldert Grootenboer" userId="3fe8758b2c2b58d2" providerId="LiveId" clId="{D7366423-816A-4211-87D1-EB036CD46984}" dt="2021-04-19T09:03:34.625" v="0" actId="47"/>
          <pc:sldLayoutMkLst>
            <pc:docMk/>
            <pc:sldMasterMk cId="1006350638" sldId="2147483700"/>
            <pc:sldLayoutMk cId="574374894" sldId="2147483704"/>
          </pc:sldLayoutMkLst>
        </pc:sldLayoutChg>
        <pc:sldLayoutChg chg="del">
          <pc:chgData name="Eldert Grootenboer" userId="3fe8758b2c2b58d2" providerId="LiveId" clId="{D7366423-816A-4211-87D1-EB036CD46984}" dt="2021-04-19T09:03:34.625" v="0" actId="47"/>
          <pc:sldLayoutMkLst>
            <pc:docMk/>
            <pc:sldMasterMk cId="1006350638" sldId="2147483700"/>
            <pc:sldLayoutMk cId="322575882" sldId="2147483705"/>
          </pc:sldLayoutMkLst>
        </pc:sldLayoutChg>
        <pc:sldLayoutChg chg="del">
          <pc:chgData name="Eldert Grootenboer" userId="3fe8758b2c2b58d2" providerId="LiveId" clId="{D7366423-816A-4211-87D1-EB036CD46984}" dt="2021-04-19T09:03:34.625" v="0" actId="47"/>
          <pc:sldLayoutMkLst>
            <pc:docMk/>
            <pc:sldMasterMk cId="1006350638" sldId="2147483700"/>
            <pc:sldLayoutMk cId="382444138" sldId="2147483706"/>
          </pc:sldLayoutMkLst>
        </pc:sldLayoutChg>
        <pc:sldLayoutChg chg="del">
          <pc:chgData name="Eldert Grootenboer" userId="3fe8758b2c2b58d2" providerId="LiveId" clId="{D7366423-816A-4211-87D1-EB036CD46984}" dt="2021-04-19T09:03:34.625" v="0" actId="47"/>
          <pc:sldLayoutMkLst>
            <pc:docMk/>
            <pc:sldMasterMk cId="1006350638" sldId="2147483700"/>
            <pc:sldLayoutMk cId="3886473865" sldId="2147483707"/>
          </pc:sldLayoutMkLst>
        </pc:sldLayoutChg>
        <pc:sldLayoutChg chg="del">
          <pc:chgData name="Eldert Grootenboer" userId="3fe8758b2c2b58d2" providerId="LiveId" clId="{D7366423-816A-4211-87D1-EB036CD46984}" dt="2021-04-19T09:03:34.625" v="0" actId="47"/>
          <pc:sldLayoutMkLst>
            <pc:docMk/>
            <pc:sldMasterMk cId="1006350638" sldId="2147483700"/>
            <pc:sldLayoutMk cId="2305349432" sldId="2147483708"/>
          </pc:sldLayoutMkLst>
        </pc:sldLayoutChg>
        <pc:sldLayoutChg chg="del">
          <pc:chgData name="Eldert Grootenboer" userId="3fe8758b2c2b58d2" providerId="LiveId" clId="{D7366423-816A-4211-87D1-EB036CD46984}" dt="2021-04-19T09:03:34.625" v="0" actId="47"/>
          <pc:sldLayoutMkLst>
            <pc:docMk/>
            <pc:sldMasterMk cId="1006350638" sldId="2147483700"/>
            <pc:sldLayoutMk cId="670168358" sldId="2147483709"/>
          </pc:sldLayoutMkLst>
        </pc:sldLayoutChg>
        <pc:sldLayoutChg chg="del">
          <pc:chgData name="Eldert Grootenboer" userId="3fe8758b2c2b58d2" providerId="LiveId" clId="{D7366423-816A-4211-87D1-EB036CD46984}" dt="2021-04-19T09:03:34.625" v="0" actId="47"/>
          <pc:sldLayoutMkLst>
            <pc:docMk/>
            <pc:sldMasterMk cId="1006350638" sldId="2147483700"/>
            <pc:sldLayoutMk cId="3582398750" sldId="2147483710"/>
          </pc:sldLayoutMkLst>
        </pc:sldLayoutChg>
        <pc:sldLayoutChg chg="del">
          <pc:chgData name="Eldert Grootenboer" userId="3fe8758b2c2b58d2" providerId="LiveId" clId="{D7366423-816A-4211-87D1-EB036CD46984}" dt="2021-04-19T09:03:34.625" v="0" actId="47"/>
          <pc:sldLayoutMkLst>
            <pc:docMk/>
            <pc:sldMasterMk cId="1006350638" sldId="2147483700"/>
            <pc:sldLayoutMk cId="4085115724" sldId="2147483711"/>
          </pc:sldLayoutMkLst>
        </pc:sldLayoutChg>
      </pc:sldMasterChg>
    </pc:docChg>
  </pc:docChgLst>
  <pc:docChgLst>
    <pc:chgData name="Eldert Grootenboer" userId="3fe8758b2c2b58d2" providerId="LiveId" clId="{A7875D48-CFAD-48DB-881E-9A6A8191F93C}"/>
    <pc:docChg chg="undo custSel addSld delSld modSld modSection">
      <pc:chgData name="Eldert Grootenboer" userId="3fe8758b2c2b58d2" providerId="LiveId" clId="{A7875D48-CFAD-48DB-881E-9A6A8191F93C}" dt="2021-06-03T11:47:05.690" v="57" actId="47"/>
      <pc:docMkLst>
        <pc:docMk/>
      </pc:docMkLst>
      <pc:sldChg chg="addSp delSp modSp new mod setBg setClrOvrMap delDesignElem">
        <pc:chgData name="Eldert Grootenboer" userId="3fe8758b2c2b58d2" providerId="LiveId" clId="{A7875D48-CFAD-48DB-881E-9A6A8191F93C}" dt="2021-06-03T11:46:02.389" v="56" actId="478"/>
        <pc:sldMkLst>
          <pc:docMk/>
          <pc:sldMk cId="3390163800" sldId="2043"/>
        </pc:sldMkLst>
        <pc:spChg chg="mod">
          <ac:chgData name="Eldert Grootenboer" userId="3fe8758b2c2b58d2" providerId="LiveId" clId="{A7875D48-CFAD-48DB-881E-9A6A8191F93C}" dt="2021-06-03T11:45:59.093" v="55" actId="207"/>
          <ac:spMkLst>
            <pc:docMk/>
            <pc:sldMk cId="3390163800" sldId="2043"/>
            <ac:spMk id="2" creationId="{408942BA-5167-497E-9E90-13463B5396AA}"/>
          </ac:spMkLst>
        </pc:spChg>
        <pc:spChg chg="del">
          <ac:chgData name="Eldert Grootenboer" userId="3fe8758b2c2b58d2" providerId="LiveId" clId="{A7875D48-CFAD-48DB-881E-9A6A8191F93C}" dt="2021-06-03T11:42:53.452" v="1"/>
          <ac:spMkLst>
            <pc:docMk/>
            <pc:sldMk cId="3390163800" sldId="2043"/>
            <ac:spMk id="3" creationId="{ACD0C199-BFC1-4A14-9D9C-4DEA49D4E096}"/>
          </ac:spMkLst>
        </pc:spChg>
        <pc:spChg chg="add del mod ord">
          <ac:chgData name="Eldert Grootenboer" userId="3fe8758b2c2b58d2" providerId="LiveId" clId="{A7875D48-CFAD-48DB-881E-9A6A8191F93C}" dt="2021-06-03T11:46:02.389" v="56" actId="478"/>
          <ac:spMkLst>
            <pc:docMk/>
            <pc:sldMk cId="3390163800" sldId="2043"/>
            <ac:spMk id="13" creationId="{D14F627F-DA15-40DD-994D-CEEB528B0569}"/>
          </ac:spMkLst>
        </pc:spChg>
        <pc:spChg chg="add del">
          <ac:chgData name="Eldert Grootenboer" userId="3fe8758b2c2b58d2" providerId="LiveId" clId="{A7875D48-CFAD-48DB-881E-9A6A8191F93C}" dt="2021-06-03T11:45:04.070" v="26"/>
          <ac:spMkLst>
            <pc:docMk/>
            <pc:sldMk cId="3390163800" sldId="2043"/>
            <ac:spMk id="15" creationId="{2EEE8F11-3582-44B7-9869-F2D26D7DD9D4}"/>
          </ac:spMkLst>
        </pc:spChg>
        <pc:spChg chg="add del">
          <ac:chgData name="Eldert Grootenboer" userId="3fe8758b2c2b58d2" providerId="LiveId" clId="{A7875D48-CFAD-48DB-881E-9A6A8191F93C}" dt="2021-06-03T11:43:54.161" v="18" actId="26606"/>
          <ac:spMkLst>
            <pc:docMk/>
            <pc:sldMk cId="3390163800" sldId="2043"/>
            <ac:spMk id="16" creationId="{80A4B931-B7F0-403E-9F40-8A4054A04FC8}"/>
          </ac:spMkLst>
        </pc:spChg>
        <pc:spChg chg="add del">
          <ac:chgData name="Eldert Grootenboer" userId="3fe8758b2c2b58d2" providerId="LiveId" clId="{A7875D48-CFAD-48DB-881E-9A6A8191F93C}" dt="2021-06-03T11:45:04.070" v="26"/>
          <ac:spMkLst>
            <pc:docMk/>
            <pc:sldMk cId="3390163800" sldId="2043"/>
            <ac:spMk id="17" creationId="{2141F1CC-6A53-4BCF-9127-AABB52E2497E}"/>
          </ac:spMkLst>
        </pc:spChg>
        <pc:spChg chg="add del">
          <ac:chgData name="Eldert Grootenboer" userId="3fe8758b2c2b58d2" providerId="LiveId" clId="{A7875D48-CFAD-48DB-881E-9A6A8191F93C}" dt="2021-06-03T11:43:54.161" v="18" actId="26606"/>
          <ac:spMkLst>
            <pc:docMk/>
            <pc:sldMk cId="3390163800" sldId="2043"/>
            <ac:spMk id="18" creationId="{4CEAF602-346E-4A18-BDCE-F489E035CFF7}"/>
          </ac:spMkLst>
        </pc:spChg>
        <pc:spChg chg="add">
          <ac:chgData name="Eldert Grootenboer" userId="3fe8758b2c2b58d2" providerId="LiveId" clId="{A7875D48-CFAD-48DB-881E-9A6A8191F93C}" dt="2021-06-03T11:45:08.643" v="27" actId="26606"/>
          <ac:spMkLst>
            <pc:docMk/>
            <pc:sldMk cId="3390163800" sldId="2043"/>
            <ac:spMk id="19" creationId="{2EEE8F11-3582-44B7-9869-F2D26D7DD9D4}"/>
          </ac:spMkLst>
        </pc:spChg>
        <pc:spChg chg="add del">
          <ac:chgData name="Eldert Grootenboer" userId="3fe8758b2c2b58d2" providerId="LiveId" clId="{A7875D48-CFAD-48DB-881E-9A6A8191F93C}" dt="2021-06-03T11:43:54.161" v="18" actId="26606"/>
          <ac:spMkLst>
            <pc:docMk/>
            <pc:sldMk cId="3390163800" sldId="2043"/>
            <ac:spMk id="20" creationId="{F74A1337-596D-453E-B873-BCF1760EE8DE}"/>
          </ac:spMkLst>
        </pc:spChg>
        <pc:spChg chg="add">
          <ac:chgData name="Eldert Grootenboer" userId="3fe8758b2c2b58d2" providerId="LiveId" clId="{A7875D48-CFAD-48DB-881E-9A6A8191F93C}" dt="2021-06-03T11:45:08.643" v="27" actId="26606"/>
          <ac:spMkLst>
            <pc:docMk/>
            <pc:sldMk cId="3390163800" sldId="2043"/>
            <ac:spMk id="21" creationId="{2141F1CC-6A53-4BCF-9127-AABB52E2497E}"/>
          </ac:spMkLst>
        </pc:spChg>
        <pc:spChg chg="add del">
          <ac:chgData name="Eldert Grootenboer" userId="3fe8758b2c2b58d2" providerId="LiveId" clId="{A7875D48-CFAD-48DB-881E-9A6A8191F93C}" dt="2021-06-03T11:45:04.070" v="26"/>
          <ac:spMkLst>
            <pc:docMk/>
            <pc:sldMk cId="3390163800" sldId="2043"/>
            <ac:spMk id="22" creationId="{C20C2C41-D9A8-45BE-9E21-91268EC186D8}"/>
          </ac:spMkLst>
        </pc:spChg>
        <pc:spChg chg="add">
          <ac:chgData name="Eldert Grootenboer" userId="3fe8758b2c2b58d2" providerId="LiveId" clId="{A7875D48-CFAD-48DB-881E-9A6A8191F93C}" dt="2021-06-03T11:45:08.643" v="27" actId="26606"/>
          <ac:spMkLst>
            <pc:docMk/>
            <pc:sldMk cId="3390163800" sldId="2043"/>
            <ac:spMk id="23" creationId="{C20C2C41-D9A8-45BE-9E21-91268EC186D8}"/>
          </ac:spMkLst>
        </pc:spChg>
        <pc:spChg chg="add del">
          <ac:chgData name="Eldert Grootenboer" userId="3fe8758b2c2b58d2" providerId="LiveId" clId="{A7875D48-CFAD-48DB-881E-9A6A8191F93C}" dt="2021-06-03T11:45:04.070" v="26"/>
          <ac:spMkLst>
            <pc:docMk/>
            <pc:sldMk cId="3390163800" sldId="2043"/>
            <ac:spMk id="24" creationId="{561B2B49-7142-4CA8-A929-4671548E6A5A}"/>
          </ac:spMkLst>
        </pc:spChg>
        <pc:spChg chg="add">
          <ac:chgData name="Eldert Grootenboer" userId="3fe8758b2c2b58d2" providerId="LiveId" clId="{A7875D48-CFAD-48DB-881E-9A6A8191F93C}" dt="2021-06-03T11:45:08.643" v="27" actId="26606"/>
          <ac:spMkLst>
            <pc:docMk/>
            <pc:sldMk cId="3390163800" sldId="2043"/>
            <ac:spMk id="25" creationId="{561B2B49-7142-4CA8-A929-4671548E6A5A}"/>
          </ac:spMkLst>
        </pc:spChg>
        <pc:spChg chg="add del">
          <ac:chgData name="Eldert Grootenboer" userId="3fe8758b2c2b58d2" providerId="LiveId" clId="{A7875D48-CFAD-48DB-881E-9A6A8191F93C}" dt="2021-06-03T11:45:04.070" v="26"/>
          <ac:spMkLst>
            <pc:docMk/>
            <pc:sldMk cId="3390163800" sldId="2043"/>
            <ac:spMk id="26" creationId="{B38B1FC8-38BF-4066-8F4A-12EEC1C1AF64}"/>
          </ac:spMkLst>
        </pc:spChg>
        <pc:spChg chg="add">
          <ac:chgData name="Eldert Grootenboer" userId="3fe8758b2c2b58d2" providerId="LiveId" clId="{A7875D48-CFAD-48DB-881E-9A6A8191F93C}" dt="2021-06-03T11:45:08.643" v="27" actId="26606"/>
          <ac:spMkLst>
            <pc:docMk/>
            <pc:sldMk cId="3390163800" sldId="2043"/>
            <ac:spMk id="27" creationId="{B38B1FC8-38BF-4066-8F4A-12EEC1C1AF64}"/>
          </ac:spMkLst>
        </pc:spChg>
        <pc:spChg chg="add del">
          <ac:chgData name="Eldert Grootenboer" userId="3fe8758b2c2b58d2" providerId="LiveId" clId="{A7875D48-CFAD-48DB-881E-9A6A8191F93C}" dt="2021-06-03T11:45:04.070" v="26"/>
          <ac:spMkLst>
            <pc:docMk/>
            <pc:sldMk cId="3390163800" sldId="2043"/>
            <ac:spMk id="28" creationId="{178B4B56-5CC4-4608-A9A9-996108D35B5B}"/>
          </ac:spMkLst>
        </pc:spChg>
        <pc:spChg chg="add">
          <ac:chgData name="Eldert Grootenboer" userId="3fe8758b2c2b58d2" providerId="LiveId" clId="{A7875D48-CFAD-48DB-881E-9A6A8191F93C}" dt="2021-06-03T11:45:08.643" v="27" actId="26606"/>
          <ac:spMkLst>
            <pc:docMk/>
            <pc:sldMk cId="3390163800" sldId="2043"/>
            <ac:spMk id="29" creationId="{178B4B56-5CC4-4608-A9A9-996108D35B5B}"/>
          </ac:spMkLst>
        </pc:spChg>
        <pc:picChg chg="add del mod ord">
          <ac:chgData name="Eldert Grootenboer" userId="3fe8758b2c2b58d2" providerId="LiveId" clId="{A7875D48-CFAD-48DB-881E-9A6A8191F93C}" dt="2021-06-03T11:44:30.889" v="23" actId="478"/>
          <ac:picMkLst>
            <pc:docMk/>
            <pc:sldMk cId="3390163800" sldId="2043"/>
            <ac:picMk id="5" creationId="{CD9258FA-60B1-4112-B786-26CCB488FEAB}"/>
          </ac:picMkLst>
        </pc:picChg>
        <pc:picChg chg="add mod">
          <ac:chgData name="Eldert Grootenboer" userId="3fe8758b2c2b58d2" providerId="LiveId" clId="{A7875D48-CFAD-48DB-881E-9A6A8191F93C}" dt="2021-06-03T11:44:36.922" v="24" actId="26606"/>
          <ac:picMkLst>
            <pc:docMk/>
            <pc:sldMk cId="3390163800" sldId="2043"/>
            <ac:picMk id="7" creationId="{68A35BFD-FDE0-415D-83C2-8CF6A7BAAD7D}"/>
          </ac:picMkLst>
        </pc:picChg>
        <pc:picChg chg="add mod">
          <ac:chgData name="Eldert Grootenboer" userId="3fe8758b2c2b58d2" providerId="LiveId" clId="{A7875D48-CFAD-48DB-881E-9A6A8191F93C}" dt="2021-06-03T11:44:36.922" v="24" actId="26606"/>
          <ac:picMkLst>
            <pc:docMk/>
            <pc:sldMk cId="3390163800" sldId="2043"/>
            <ac:picMk id="9" creationId="{47898B2F-319F-4FDE-8574-3AB7920360B8}"/>
          </ac:picMkLst>
        </pc:picChg>
        <pc:picChg chg="add mod ord">
          <ac:chgData name="Eldert Grootenboer" userId="3fe8758b2c2b58d2" providerId="LiveId" clId="{A7875D48-CFAD-48DB-881E-9A6A8191F93C}" dt="2021-06-03T11:44:36.922" v="24" actId="26606"/>
          <ac:picMkLst>
            <pc:docMk/>
            <pc:sldMk cId="3390163800" sldId="2043"/>
            <ac:picMk id="11" creationId="{6F0C6802-0360-4EBD-9C71-97AE2FCB9D34}"/>
          </ac:picMkLst>
        </pc:picChg>
      </pc:sldChg>
      <pc:sldChg chg="delSp new del mod modClrScheme chgLayout">
        <pc:chgData name="Eldert Grootenboer" userId="3fe8758b2c2b58d2" providerId="LiveId" clId="{A7875D48-CFAD-48DB-881E-9A6A8191F93C}" dt="2021-06-03T11:47:05.690" v="57" actId="47"/>
        <pc:sldMkLst>
          <pc:docMk/>
          <pc:sldMk cId="1819359353" sldId="2044"/>
        </pc:sldMkLst>
        <pc:spChg chg="del">
          <ac:chgData name="Eldert Grootenboer" userId="3fe8758b2c2b58d2" providerId="LiveId" clId="{A7875D48-CFAD-48DB-881E-9A6A8191F93C}" dt="2021-06-03T11:45:24.780" v="31" actId="700"/>
          <ac:spMkLst>
            <pc:docMk/>
            <pc:sldMk cId="1819359353" sldId="2044"/>
            <ac:spMk id="2" creationId="{5099F267-1969-4A26-B5A6-32290B59D15E}"/>
          </ac:spMkLst>
        </pc:spChg>
        <pc:spChg chg="del">
          <ac:chgData name="Eldert Grootenboer" userId="3fe8758b2c2b58d2" providerId="LiveId" clId="{A7875D48-CFAD-48DB-881E-9A6A8191F93C}" dt="2021-06-03T11:45:24.780" v="31" actId="700"/>
          <ac:spMkLst>
            <pc:docMk/>
            <pc:sldMk cId="1819359353" sldId="2044"/>
            <ac:spMk id="3" creationId="{1B52BE08-4CC5-41B6-A347-E7C0A55003B6}"/>
          </ac:spMkLst>
        </pc:spChg>
      </pc:sldChg>
      <pc:sldChg chg="addSp delSp modSp new del">
        <pc:chgData name="Eldert Grootenboer" userId="3fe8758b2c2b58d2" providerId="LiveId" clId="{A7875D48-CFAD-48DB-881E-9A6A8191F93C}" dt="2021-06-03T11:43:52.022" v="17" actId="680"/>
        <pc:sldMkLst>
          <pc:docMk/>
          <pc:sldMk cId="1947385236" sldId="2044"/>
        </pc:sldMkLst>
        <pc:picChg chg="add del mod">
          <ac:chgData name="Eldert Grootenboer" userId="3fe8758b2c2b58d2" providerId="LiveId" clId="{A7875D48-CFAD-48DB-881E-9A6A8191F93C}" dt="2021-06-03T11:43:50.793" v="16"/>
          <ac:picMkLst>
            <pc:docMk/>
            <pc:sldMk cId="1947385236" sldId="2044"/>
            <ac:picMk id="4" creationId="{1AEFBA73-5B05-4EF2-8945-AD2A450EF3C1}"/>
          </ac:picMkLst>
        </pc:picChg>
        <pc:picChg chg="add del mod">
          <ac:chgData name="Eldert Grootenboer" userId="3fe8758b2c2b58d2" providerId="LiveId" clId="{A7875D48-CFAD-48DB-881E-9A6A8191F93C}" dt="2021-06-03T11:43:50.793" v="16"/>
          <ac:picMkLst>
            <pc:docMk/>
            <pc:sldMk cId="1947385236" sldId="2044"/>
            <ac:picMk id="5" creationId="{D8FF8098-E221-4F61-B89E-E6040DBF5482}"/>
          </ac:picMkLst>
        </pc:picChg>
        <pc:picChg chg="add del mod">
          <ac:chgData name="Eldert Grootenboer" userId="3fe8758b2c2b58d2" providerId="LiveId" clId="{A7875D48-CFAD-48DB-881E-9A6A8191F93C}" dt="2021-06-03T11:43:50.793" v="16"/>
          <ac:picMkLst>
            <pc:docMk/>
            <pc:sldMk cId="1947385236" sldId="2044"/>
            <ac:picMk id="6" creationId="{016D3BEA-90FE-4D75-A258-C6BD9F44897F}"/>
          </ac:picMkLst>
        </pc:picChg>
        <pc:picChg chg="add del mod">
          <ac:chgData name="Eldert Grootenboer" userId="3fe8758b2c2b58d2" providerId="LiveId" clId="{A7875D48-CFAD-48DB-881E-9A6A8191F93C}" dt="2021-06-03T11:43:50.793" v="16"/>
          <ac:picMkLst>
            <pc:docMk/>
            <pc:sldMk cId="1947385236" sldId="2044"/>
            <ac:picMk id="7" creationId="{7B4058E3-B7C5-42C8-BC35-A5F23F7E08DC}"/>
          </ac:picMkLst>
        </pc:picChg>
      </pc:sldChg>
      <pc:sldChg chg="add del">
        <pc:chgData name="Eldert Grootenboer" userId="3fe8758b2c2b58d2" providerId="LiveId" clId="{A7875D48-CFAD-48DB-881E-9A6A8191F93C}" dt="2021-06-03T11:45:18.962" v="29" actId="2890"/>
        <pc:sldMkLst>
          <pc:docMk/>
          <pc:sldMk cId="3294342112" sldId="2044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38F999-B6FE-4959-92BA-0333E5BDC939}" type="datetimeFigureOut">
              <a:rPr lang="en-NL" smtClean="0"/>
              <a:t>12/10/2021</a:t>
            </a:fld>
            <a:endParaRPr lang="en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B01387-9F63-4047-B3F8-D3467F60CDC5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1517231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azure.microsoft.com/en-us/services/cognitive-services/anomaly-detector/" TargetMode="External"/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azure.microsoft.com/en-us/services/cognitive-services/personalizer/" TargetMode="External"/><Relationship Id="rId4" Type="http://schemas.openxmlformats.org/officeDocument/2006/relationships/hyperlink" Target="https://azure.microsoft.com/en-us/services/cognitive-services/content-moderator/" TargetMode="External"/></Relationships>
</file>

<file path=ppt/notesSlides/_rels/notes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azure.microsoft.com/en-us/services/cognitive-services/immersive-reader/" TargetMode="External"/><Relationship Id="rId7" Type="http://schemas.openxmlformats.org/officeDocument/2006/relationships/hyperlink" Target="https://azure.microsoft.com/en-us/services/cognitive-services/translator/" TargetMode="External"/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azure.microsoft.com/en-us/services/cognitive-services/text-analytics/" TargetMode="External"/><Relationship Id="rId5" Type="http://schemas.openxmlformats.org/officeDocument/2006/relationships/hyperlink" Target="https://azure.microsoft.com/en-us/services/cognitive-services/qna-maker/" TargetMode="External"/><Relationship Id="rId4" Type="http://schemas.openxmlformats.org/officeDocument/2006/relationships/hyperlink" Target="https://azure.microsoft.com/en-us/services/cognitive-services/language-understanding-intelligent-service/" TargetMode="External"/></Relationships>
</file>

<file path=ppt/notesSlides/_rels/notes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azure.microsoft.com/en-us/services/cognitive-services/speech-to-text/" TargetMode="External"/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azure.microsoft.com/en-us/services/cognitive-services/speaker-recognition/" TargetMode="External"/><Relationship Id="rId5" Type="http://schemas.openxmlformats.org/officeDocument/2006/relationships/hyperlink" Target="https://azure.microsoft.com/en-us/services/cognitive-services/speech-translation/" TargetMode="External"/><Relationship Id="rId4" Type="http://schemas.openxmlformats.org/officeDocument/2006/relationships/hyperlink" Target="https://azure.microsoft.com/en-us/services/cognitive-services/text-to-speech/" TargetMode="External"/></Relationships>
</file>

<file path=ppt/notesSlides/_rels/notesSlide16.xml.rels><?xml version="1.0" encoding="UTF-8" standalone="yes"?>
<Relationships xmlns="http://schemas.openxmlformats.org/package/2006/relationships"><Relationship Id="rId8" Type="http://schemas.openxmlformats.org/officeDocument/2006/relationships/hyperlink" Target="https://azure.microsoft.com/en-us/services/media-services/video-indexer/" TargetMode="External"/><Relationship Id="rId3" Type="http://schemas.openxmlformats.org/officeDocument/2006/relationships/hyperlink" Target="https://azure.microsoft.com/en-us/services/cognitive-services/computer-vision/" TargetMode="External"/><Relationship Id="rId7" Type="http://schemas.openxmlformats.org/officeDocument/2006/relationships/hyperlink" Target="https://azure.microsoft.com/en-us/services/cognitive-services/ink-recognizer/" TargetMode="External"/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azure.microsoft.com/en-us/services/cognitive-services/form-recognizer/" TargetMode="External"/><Relationship Id="rId5" Type="http://schemas.openxmlformats.org/officeDocument/2006/relationships/hyperlink" Target="https://azure.microsoft.com/en-us/services/cognitive-services/face/" TargetMode="External"/><Relationship Id="rId4" Type="http://schemas.openxmlformats.org/officeDocument/2006/relationships/hyperlink" Target="https://azure.microsoft.com/en-us/services/cognitive-services/custom-vision-service/" TargetMode="External"/></Relationships>
</file>

<file path=ppt/notesSlides/_rels/notesSlide17.xml.rels><?xml version="1.0" encoding="UTF-8" standalone="yes"?>
<Relationships xmlns="http://schemas.openxmlformats.org/package/2006/relationships"><Relationship Id="rId8" Type="http://schemas.openxmlformats.org/officeDocument/2006/relationships/hyperlink" Target="https://azure.microsoft.com/en-us/services/cognitive-services/spell-check/" TargetMode="External"/><Relationship Id="rId3" Type="http://schemas.openxmlformats.org/officeDocument/2006/relationships/hyperlink" Target="https://azure.microsoft.com/en-us/services/cognitive-services/autosuggest/" TargetMode="External"/><Relationship Id="rId7" Type="http://schemas.openxmlformats.org/officeDocument/2006/relationships/hyperlink" Target="https://azure.microsoft.com/en-us/services/cognitive-services/bing-news-search-api/" TargetMode="External"/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azure.microsoft.com/en-us/services/cognitive-services/bing-image-search-api/" TargetMode="External"/><Relationship Id="rId11" Type="http://schemas.openxmlformats.org/officeDocument/2006/relationships/hyperlink" Target="https://azure.microsoft.com/en-us/services/cognitive-services/bing-web-search-api/" TargetMode="External"/><Relationship Id="rId5" Type="http://schemas.openxmlformats.org/officeDocument/2006/relationships/hyperlink" Target="https://azure.microsoft.com/en-us/services/cognitive-services/bing-entity-search-api/" TargetMode="External"/><Relationship Id="rId10" Type="http://schemas.openxmlformats.org/officeDocument/2006/relationships/hyperlink" Target="https://azure.microsoft.com/en-us/services/cognitive-services/bing-visual-search/" TargetMode="External"/><Relationship Id="rId4" Type="http://schemas.openxmlformats.org/officeDocument/2006/relationships/hyperlink" Target="https://azure.microsoft.com/en-us/services/cognitive-services/bing-custom-search/" TargetMode="External"/><Relationship Id="rId9" Type="http://schemas.openxmlformats.org/officeDocument/2006/relationships/hyperlink" Target="https://azure.microsoft.com/en-us/services/cognitive-services/bing-video-search-api/" TargetMode="Externa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12/2021 8:58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41127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11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99722262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0</a:t>
            </a:r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12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37360439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Logical decision making</a:t>
            </a:r>
          </a:p>
          <a:p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Natural language</a:t>
            </a:r>
          </a:p>
          <a:p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Spoken language</a:t>
            </a:r>
          </a:p>
          <a:p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Everything we see</a:t>
            </a:r>
          </a:p>
          <a:p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Search and lookup</a:t>
            </a:r>
          </a:p>
          <a:p>
            <a:endParaRPr lang="en-US" b="0" i="0" dirty="0">
              <a:solidFill>
                <a:srgbClr val="F8F9FA"/>
              </a:solidFill>
              <a:effectLst/>
              <a:latin typeface="Segoe UI" panose="020B0502040204020203" pitchFamily="34" charset="0"/>
            </a:endParaRPr>
          </a:p>
          <a:p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Cognitive Services bring AI within reach of every developer—without requiring machine-learning expertise. All it takes is an API call to embed the ability to see, hear, speak, search, understand, and accelerate decision-making into your apps.</a:t>
            </a:r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13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6102045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Let’s quickly go through each of these</a:t>
            </a:r>
          </a:p>
          <a:p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Most are self explanatory</a:t>
            </a:r>
          </a:p>
          <a:p>
            <a:pPr algn="l"/>
            <a:endParaRPr lang="en-US" b="1" i="0" dirty="0">
              <a:solidFill>
                <a:srgbClr val="CCCDCE"/>
              </a:solidFill>
              <a:effectLst/>
              <a:latin typeface="Segoe UI" panose="020B0502040204020203" pitchFamily="34" charset="0"/>
            </a:endParaRPr>
          </a:p>
          <a:p>
            <a:pPr algn="l"/>
            <a:r>
              <a:rPr lang="en-US" b="1" i="0" dirty="0">
                <a:solidFill>
                  <a:srgbClr val="CCCDCE"/>
                </a:solidFill>
                <a:effectLst/>
                <a:latin typeface="Segoe UI" panose="020B0502040204020203" pitchFamily="34" charset="0"/>
              </a:rPr>
              <a:t>Make smarter decisions faster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3"/>
              </a:rPr>
              <a:t>Anomaly Detector </a:t>
            </a:r>
            <a:r>
              <a:rPr lang="en-US" b="1" i="0" u="none" strike="noStrike" cap="all" baseline="30000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3"/>
              </a:rPr>
              <a:t>PREVIEW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Identify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potential problems early on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4"/>
              </a:rPr>
              <a:t>Content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4"/>
              </a:rPr>
              <a:t>Moderator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Detect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potentially offensive or unwanted content.</a:t>
            </a:r>
          </a:p>
          <a:p>
            <a:pPr algn="l"/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5"/>
              </a:rPr>
              <a:t>Personalizer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Create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rich, personalized experiences for every user.</a:t>
            </a:r>
          </a:p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14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4682745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nl-NL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3"/>
              </a:rPr>
              <a:t>Immersive</a:t>
            </a:r>
            <a:r>
              <a:rPr lang="nl-NL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3"/>
              </a:rPr>
              <a:t> Reader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Help readers of all abilities comprehend text using audio and visual cues.</a:t>
            </a:r>
            <a:b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</a:br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4"/>
              </a:rPr>
              <a:t>Language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4"/>
              </a:rPr>
              <a:t>Understanding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Build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natural language understanding into apps, bots, and IoT devices.</a:t>
            </a:r>
          </a:p>
          <a:p>
            <a:pPr algn="l"/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5"/>
              </a:rPr>
              <a:t>QnA</a:t>
            </a:r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5"/>
              </a:rPr>
              <a:t>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5"/>
              </a:rPr>
              <a:t>Maker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Create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a conversational question and answer layer over your data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6"/>
              </a:rPr>
              <a:t>Text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6"/>
              </a:rPr>
              <a:t>Analytics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Detect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sentiment, key phrases, and named entities.</a:t>
            </a:r>
          </a:p>
          <a:p>
            <a:pPr algn="l"/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7"/>
              </a:rPr>
              <a:t>Translator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Detect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and translate more than 60 supported languages.</a:t>
            </a:r>
          </a:p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15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02798030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b="1" i="0" dirty="0">
                <a:solidFill>
                  <a:srgbClr val="CCCDCE"/>
                </a:solidFill>
                <a:effectLst/>
                <a:latin typeface="Segoe UI" panose="020B0502040204020203" pitchFamily="34" charset="0"/>
              </a:rPr>
              <a:t>Integrate speech processing into apps and services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3"/>
              </a:rPr>
              <a:t>Speech to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3"/>
              </a:rPr>
              <a:t>Text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Transcribe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audible speech into readable, searchable text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4"/>
              </a:rPr>
              <a:t>Text to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4"/>
              </a:rPr>
              <a:t>Speech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Convert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text to lifelike speech for more natural interfaces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5"/>
              </a:rPr>
              <a:t>Speech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5"/>
              </a:rPr>
              <a:t>Translation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Integrate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real-time speech translation into your apps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6"/>
              </a:rPr>
              <a:t>Speaker Recognition </a:t>
            </a:r>
            <a:r>
              <a:rPr lang="en-US" b="1" i="0" u="none" strike="noStrike" cap="all" baseline="30000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6"/>
              </a:rPr>
              <a:t>PREVIEW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Identify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and verify the people speaking based on audio.</a:t>
            </a:r>
          </a:p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16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52512066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b="1" i="0" dirty="0">
                <a:solidFill>
                  <a:srgbClr val="CCCDCE"/>
                </a:solidFill>
                <a:effectLst/>
                <a:latin typeface="Segoe UI" panose="020B0502040204020203" pitchFamily="34" charset="0"/>
              </a:rPr>
              <a:t>Identify and analyze content within images, videos, and digital ink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3"/>
              </a:rPr>
              <a:t>Computer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3"/>
              </a:rPr>
              <a:t>Vision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Analyze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content in images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4"/>
              </a:rPr>
              <a:t>Custom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4"/>
              </a:rPr>
              <a:t>Vision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Customize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image recognition to fit your business needs.</a:t>
            </a:r>
          </a:p>
          <a:p>
            <a:pPr algn="l"/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5"/>
              </a:rPr>
              <a:t>Face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Detect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and identify people and emotions in images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6"/>
              </a:rPr>
              <a:t>Form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6"/>
              </a:rPr>
              <a:t>Recognizer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Extract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text, key-value pairs, and tables from documents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7"/>
              </a:rPr>
              <a:t>Ink Recognizer </a:t>
            </a:r>
            <a:r>
              <a:rPr lang="en-US" b="1" i="0" u="none" strike="noStrike" cap="all" baseline="30000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7"/>
              </a:rPr>
              <a:t>PREVIEW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Recognize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digital ink and handwriting, and pinpoint common shapes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8"/>
              </a:rPr>
              <a:t>Video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8"/>
              </a:rPr>
              <a:t>Indexer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Analyze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the visual and audio channels of a video, and index its content.</a:t>
            </a:r>
          </a:p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17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77779168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b="1" i="0" dirty="0">
                <a:solidFill>
                  <a:srgbClr val="CCCDCE"/>
                </a:solidFill>
                <a:effectLst/>
                <a:latin typeface="Segoe UI" panose="020B0502040204020203" pitchFamily="34" charset="0"/>
              </a:rPr>
              <a:t>Find what you’re looking for from the world-wide-web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3"/>
              </a:rPr>
              <a:t>Bing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3"/>
              </a:rPr>
              <a:t>Autosuggest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Help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users complete queries faster by adding intelligent type-ahead capabilities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4"/>
              </a:rPr>
              <a:t>Bing Custom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4"/>
              </a:rPr>
              <a:t>Search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Create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a custom search engine with ad-free results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5"/>
              </a:rPr>
              <a:t>Bing Entity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5"/>
              </a:rPr>
              <a:t>Search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Recognize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and classify named entities, and find search results based on them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6"/>
              </a:rPr>
              <a:t>Bing Image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6"/>
              </a:rPr>
              <a:t>Search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Add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a variety of search image options to your app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7"/>
              </a:rPr>
              <a:t>Bing News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7"/>
              </a:rPr>
              <a:t>Search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Turn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any app into a news search resource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8"/>
              </a:rPr>
              <a:t>Bing Spell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8"/>
              </a:rPr>
              <a:t>Check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Help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users identify and fix word breaks, slang, names, homonyms, and brands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9"/>
              </a:rPr>
              <a:t>Bing Video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9"/>
              </a:rPr>
              <a:t>Search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Add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advanced video search features to your app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10"/>
              </a:rPr>
              <a:t>Bing Visual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10"/>
              </a:rPr>
              <a:t>Search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Enable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users to search using images.</a:t>
            </a:r>
          </a:p>
          <a:p>
            <a:pPr algn="l"/>
            <a:r>
              <a:rPr lang="en-US" b="1" i="0" u="none" strike="noStrike" dirty="0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11"/>
              </a:rPr>
              <a:t>Bing Web </a:t>
            </a:r>
            <a:r>
              <a:rPr lang="en-US" b="1" i="0" u="none" strike="noStrike" dirty="0" err="1">
                <a:solidFill>
                  <a:srgbClr val="CCCDCE"/>
                </a:solidFill>
                <a:effectLst/>
                <a:latin typeface="Segoe UI" panose="020B0502040204020203" pitchFamily="34" charset="0"/>
                <a:hlinkClick r:id="rId11"/>
              </a:rPr>
              <a:t>Search</a:t>
            </a:r>
            <a:r>
              <a:rPr lang="en-US" b="0" i="0" dirty="0" err="1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Enable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 safe, ad-free, location-aware search for your users, surfacing relevant information from </a:t>
            </a:r>
            <a:r>
              <a:rPr lang="en-US" b="0" i="0" u="sng" dirty="0">
                <a:solidFill>
                  <a:srgbClr val="50E6FF"/>
                </a:solidFill>
                <a:effectLst/>
                <a:latin typeface="Segoe UI" panose="020B0502040204020203" pitchFamily="34" charset="0"/>
                <a:hlinkClick r:id="rId11"/>
              </a:rPr>
              <a:t>web results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, </a:t>
            </a:r>
            <a:r>
              <a:rPr lang="en-US" b="0" i="0" u="sng" dirty="0">
                <a:solidFill>
                  <a:srgbClr val="50E6FF"/>
                </a:solidFill>
                <a:effectLst/>
                <a:latin typeface="Segoe UI" panose="020B0502040204020203" pitchFamily="34" charset="0"/>
                <a:hlinkClick r:id="rId6"/>
              </a:rPr>
              <a:t>images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, </a:t>
            </a:r>
            <a:r>
              <a:rPr lang="en-US" b="0" i="0" u="sng" dirty="0">
                <a:solidFill>
                  <a:srgbClr val="50E6FF"/>
                </a:solidFill>
                <a:effectLst/>
                <a:latin typeface="Segoe UI" panose="020B0502040204020203" pitchFamily="34" charset="0"/>
                <a:hlinkClick r:id="rId7"/>
              </a:rPr>
              <a:t>news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, </a:t>
            </a:r>
            <a:r>
              <a:rPr lang="en-US" b="0" i="0" u="sng" dirty="0">
                <a:solidFill>
                  <a:srgbClr val="50E6FF"/>
                </a:solidFill>
                <a:effectLst/>
                <a:latin typeface="Segoe UI" panose="020B0502040204020203" pitchFamily="34" charset="0"/>
                <a:hlinkClick r:id="rId9"/>
              </a:rPr>
              <a:t>videos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, and </a:t>
            </a:r>
            <a:r>
              <a:rPr lang="en-US" b="0" i="0" u="sng" dirty="0">
                <a:solidFill>
                  <a:srgbClr val="50E6FF"/>
                </a:solidFill>
                <a:effectLst/>
                <a:latin typeface="Segoe UI" panose="020B0502040204020203" pitchFamily="34" charset="0"/>
                <a:hlinkClick r:id="rId10"/>
              </a:rPr>
              <a:t>visuals</a:t>
            </a:r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.</a:t>
            </a:r>
          </a:p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18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95685713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914367">
              <a:spcBef>
                <a:spcPts val="588"/>
              </a:spcBef>
              <a:spcAft>
                <a:spcPts val="588"/>
              </a:spcAft>
              <a:buNone/>
              <a:defRPr/>
            </a:pPr>
            <a:r>
              <a:rPr lang="en-US" sz="1200" dirty="0">
                <a:solidFill>
                  <a:srgbClr val="505050"/>
                </a:solidFill>
                <a:latin typeface="Segoe UI"/>
                <a:cs typeface="Segoe UI Semilight" panose="020B0402040204020203" pitchFamily="34" charset="0"/>
              </a:rPr>
              <a:t>Serverless</a:t>
            </a:r>
          </a:p>
          <a:p>
            <a:pPr marL="0" indent="0" defTabSz="914367">
              <a:spcBef>
                <a:spcPts val="588"/>
              </a:spcBef>
              <a:spcAft>
                <a:spcPts val="588"/>
              </a:spcAft>
              <a:buNone/>
              <a:defRPr/>
            </a:pPr>
            <a:r>
              <a:rPr lang="en-US" sz="1200" dirty="0">
                <a:solidFill>
                  <a:srgbClr val="505050"/>
                </a:solidFill>
                <a:latin typeface="Segoe UI"/>
                <a:cs typeface="Segoe UI Semilight" panose="020B0402040204020203" pitchFamily="34" charset="0"/>
              </a:rPr>
              <a:t>Roll your own with REST APIs</a:t>
            </a:r>
          </a:p>
          <a:p>
            <a:pPr marL="0" indent="0" defTabSz="914367">
              <a:spcBef>
                <a:spcPts val="588"/>
              </a:spcBef>
              <a:spcAft>
                <a:spcPts val="588"/>
              </a:spcAft>
              <a:buNone/>
              <a:defRPr/>
            </a:pPr>
            <a:r>
              <a:rPr lang="en-US" sz="1200" dirty="0">
                <a:solidFill>
                  <a:srgbClr val="505050"/>
                </a:solidFill>
                <a:latin typeface="Segoe UI"/>
                <a:cs typeface="Segoe UI Semilight" panose="020B0402040204020203" pitchFamily="34" charset="0"/>
              </a:rPr>
              <a:t>Simple to add: just a few lines of code required</a:t>
            </a:r>
          </a:p>
          <a:p>
            <a:endParaRPr lang="en-US" dirty="0"/>
          </a:p>
          <a:p>
            <a:pPr marL="0" indent="0" defTabSz="914367">
              <a:spcBef>
                <a:spcPts val="588"/>
              </a:spcBef>
              <a:spcAft>
                <a:spcPts val="588"/>
              </a:spcAft>
              <a:buNone/>
              <a:defRPr/>
            </a:pPr>
            <a:r>
              <a:rPr lang="en-US" sz="1200" dirty="0">
                <a:solidFill>
                  <a:srgbClr val="505050"/>
                </a:solidFill>
                <a:latin typeface="Segoe UI"/>
                <a:cs typeface="Segoe UI Semilight" panose="020B0402040204020203" pitchFamily="34" charset="0"/>
              </a:rPr>
              <a:t>Integrate into the language and platform of your choice</a:t>
            </a:r>
          </a:p>
          <a:p>
            <a:pPr marL="0" indent="0" defTabSz="914367">
              <a:spcBef>
                <a:spcPts val="588"/>
              </a:spcBef>
              <a:spcAft>
                <a:spcPts val="588"/>
              </a:spcAft>
              <a:buNone/>
              <a:defRPr/>
            </a:pPr>
            <a:r>
              <a:rPr lang="en-US" sz="1200" dirty="0">
                <a:solidFill>
                  <a:srgbClr val="505050"/>
                </a:solidFill>
                <a:latin typeface="Segoe UI"/>
                <a:cs typeface="Segoe UI Semilight" panose="020B0402040204020203" pitchFamily="34" charset="0"/>
              </a:rPr>
              <a:t>Breadth of offerings helps you find the right API for your app</a:t>
            </a:r>
          </a:p>
          <a:p>
            <a:pPr marL="0" indent="0" defTabSz="914367">
              <a:spcBef>
                <a:spcPts val="588"/>
              </a:spcBef>
              <a:spcAft>
                <a:spcPts val="588"/>
              </a:spcAft>
              <a:buNone/>
              <a:defRPr/>
            </a:pPr>
            <a:r>
              <a:rPr lang="en-US" sz="1100" dirty="0">
                <a:gradFill>
                  <a:gsLst>
                    <a:gs pos="10909">
                      <a:schemeClr val="tx1"/>
                    </a:gs>
                    <a:gs pos="38000">
                      <a:schemeClr val="tx1"/>
                    </a:gs>
                  </a:gsLst>
                  <a:lin ang="108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Bring your own data for your </a:t>
            </a:r>
            <a:br>
              <a:rPr lang="en-US" sz="1100" dirty="0">
                <a:gradFill>
                  <a:gsLst>
                    <a:gs pos="10909">
                      <a:schemeClr val="tx1"/>
                    </a:gs>
                    <a:gs pos="38000">
                      <a:schemeClr val="tx1"/>
                    </a:gs>
                  </a:gsLst>
                  <a:lin ang="108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100" dirty="0">
                <a:gradFill>
                  <a:gsLst>
                    <a:gs pos="10909">
                      <a:schemeClr val="tx1"/>
                    </a:gs>
                    <a:gs pos="38000">
                      <a:schemeClr val="tx1"/>
                    </a:gs>
                  </a:gsLst>
                  <a:lin ang="108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ustom experience</a:t>
            </a:r>
          </a:p>
          <a:p>
            <a:pPr marL="0" indent="0" defTabSz="914367">
              <a:spcBef>
                <a:spcPts val="588"/>
              </a:spcBef>
              <a:spcAft>
                <a:spcPts val="588"/>
              </a:spcAft>
              <a:buNone/>
              <a:defRPr/>
            </a:pPr>
            <a:endParaRPr lang="en-US" sz="1200" dirty="0">
              <a:solidFill>
                <a:srgbClr val="505050"/>
              </a:solidFill>
              <a:latin typeface="Segoe UI"/>
              <a:cs typeface="Segoe UI Semilight" panose="020B0402040204020203" pitchFamily="34" charset="0"/>
            </a:endParaRPr>
          </a:p>
          <a:p>
            <a:pPr marL="0" indent="0" defTabSz="914367">
              <a:spcBef>
                <a:spcPts val="588"/>
              </a:spcBef>
              <a:spcAft>
                <a:spcPts val="588"/>
              </a:spcAft>
              <a:buNone/>
              <a:defRPr/>
            </a:pPr>
            <a:r>
              <a:rPr lang="en-US" sz="1200" dirty="0">
                <a:solidFill>
                  <a:srgbClr val="505050"/>
                </a:solidFill>
                <a:latin typeface="Segoe UI"/>
                <a:cs typeface="Segoe UI Semilight" panose="020B0402040204020203" pitchFamily="34" charset="0"/>
              </a:rPr>
              <a:t>Built by experts in their field from Microsoft Research, Bing, and Azure Machine Learning</a:t>
            </a:r>
          </a:p>
          <a:p>
            <a:pPr marL="0" indent="0" defTabSz="914367">
              <a:spcBef>
                <a:spcPts val="588"/>
              </a:spcBef>
              <a:spcAft>
                <a:spcPts val="588"/>
              </a:spcAft>
              <a:buNone/>
              <a:defRPr/>
            </a:pPr>
            <a:r>
              <a:rPr lang="en-US" sz="1200" dirty="0">
                <a:solidFill>
                  <a:srgbClr val="505050"/>
                </a:solidFill>
                <a:latin typeface="Segoe UI"/>
                <a:cs typeface="Segoe UI Semilight" panose="020B0402040204020203" pitchFamily="34" charset="0"/>
              </a:rPr>
              <a:t>Quality documentation, sample code, and community support</a:t>
            </a:r>
          </a:p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19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00971172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7</a:t>
            </a:r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20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7612047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12/2021 8:58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575329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21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49779377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rgbClr val="4C4C51"/>
                </a:solidFill>
                <a:effectLst/>
                <a:latin typeface="Segoe UI" panose="020B0502040204020203" pitchFamily="34" charset="0"/>
              </a:rPr>
              <a:t>Develop intelligent, enterprise-grade bots that help you enrich the customer experience while maintaining control of your data. Build any type of bot—from a Q&amp;A bot to your own branded virtual assistant—to quickly connect your users to the answers they need.</a:t>
            </a:r>
            <a:endParaRPr lang="en-US" sz="1200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22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9557795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20</a:t>
            </a:r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23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60095030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24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98631127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Rustig spreken!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10/12/2021 8:58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833694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Rustig spreken!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10/12/2021 8:59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6944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273C79-4994-47A5-A6AE-527D06C8FC24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97389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 some theory</a:t>
            </a:r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4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4619689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know and understand, because we see, hear, speak, and using this input we gain better understanding of what happens around us</a:t>
            </a:r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6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8984316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Cognitive Services bring AI within reach of every developer—without requiring machine-learning expertise. All it takes is an API call to embed the ability to see, hear, speak, search, understand, and accelerate decision-making into your apps.</a:t>
            </a:r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7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5529678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b="1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SERVERLESS!</a:t>
            </a:r>
          </a:p>
          <a:p>
            <a:endParaRPr lang="en-US" b="0" i="0" dirty="0">
              <a:solidFill>
                <a:srgbClr val="F8F9FA"/>
              </a:solidFill>
              <a:effectLst/>
              <a:latin typeface="Segoe UI" panose="020B0502040204020203" pitchFamily="34" charset="0"/>
            </a:endParaRPr>
          </a:p>
          <a:p>
            <a:r>
              <a:rPr lang="en-US" b="0" i="0" dirty="0">
                <a:solidFill>
                  <a:srgbClr val="F8F9FA"/>
                </a:solidFill>
                <a:effectLst/>
                <a:latin typeface="Segoe UI" panose="020B0502040204020203" pitchFamily="34" charset="0"/>
              </a:rPr>
              <a:t>Cognitive Services bring AI within reach of every developer—without requiring machine-learning expertise. All it takes is an API call to embed the ability to see, hear, speak, search, understand, and accelerate decision-making into your apps.</a:t>
            </a:r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8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8992516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5</a:t>
            </a:r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01387-9F63-4047-B3F8-D3467F60CDC5}" type="slidenum">
              <a:rPr lang="en-NL" smtClean="0"/>
              <a:t>9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82117990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C601B9-5273-467A-8E48-EC9939578C8F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12/2021 8:58 A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3028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2C3094-B357-4604-AD61-4DAF5563C3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NL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4756C13-9BED-4F62-B3F8-F7E28DC27F8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F454E3-A9F6-4F09-BB0B-BDD5A53879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1E2CAE-0AF7-43DC-968F-45E6B956AA4B}" type="datetimeFigureOut">
              <a:rPr lang="en-NL" smtClean="0"/>
              <a:t>12/10/2021</a:t>
            </a:fld>
            <a:endParaRPr lang="en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F66DEB-B2CF-4CA0-ABEC-8A9A438196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ACEB2F-4354-425B-8715-87C8E89ED0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41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AFA01CA-FA0E-4054-8554-0A84DEE08BA8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340731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27C6E-2596-4980-801D-4CDA0760F9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5411788"/>
          </a:xfrm>
        </p:spPr>
        <p:txBody>
          <a:bodyPr anchor="ctr">
            <a:normAutofit/>
          </a:bodyPr>
          <a:lstStyle>
            <a:lvl1pPr>
              <a:defRPr lang="en-NL" sz="600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n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F0A240-EA0B-4EAC-A1ED-C6D98FD976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BE4B16B-51B6-415D-A454-7BC8A360A3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1E2CAE-0AF7-43DC-968F-45E6B956AA4B}" type="datetimeFigureOut">
              <a:rPr lang="en-NL" smtClean="0"/>
              <a:t>12/10/2021</a:t>
            </a:fld>
            <a:endParaRPr lang="en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0BB79D-5D5A-4F4F-A410-8E42F9D0D9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9FAF42-01AA-4934-A765-D576E8CD17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41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AFA01CA-FA0E-4054-8554-0A84DEE08BA8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261569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405DA9-1A98-4686-BB5B-814322F4AD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N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39B4037-7A4A-4384-BE2D-2DA395F6C74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FF72D5-A0BA-484C-B089-42D46786BF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1E2CAE-0AF7-43DC-968F-45E6B956AA4B}" type="datetimeFigureOut">
              <a:rPr lang="en-NL" smtClean="0"/>
              <a:t>12/10/2021</a:t>
            </a:fld>
            <a:endParaRPr lang="en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9AD2AD-0FDB-4449-B372-27DD241208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FEFA7C-ABC0-4494-8BC6-A54D2D4850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41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AFA01CA-FA0E-4054-8554-0A84DEE08BA8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196244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836A39D-C168-4465-9B46-8F14734DABE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N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AA6CD48-DCD0-4DAB-BBDA-F31EA1154DE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A4538D0-3720-4020-BC79-BB90653E40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1E2CAE-0AF7-43DC-968F-45E6B956AA4B}" type="datetimeFigureOut">
              <a:rPr lang="en-NL" smtClean="0"/>
              <a:t>12/10/2021</a:t>
            </a:fld>
            <a:endParaRPr lang="en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5A4044-D15A-4411-B7C6-B765E3E586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388C63-0AB8-4F72-AB7A-BB25E97E64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41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AFA01CA-FA0E-4054-8554-0A84DEE08BA8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721051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DBC305C-A9C3-4278-AFC0-C99DFD80A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082" y="424166"/>
            <a:ext cx="11336039" cy="758022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sz="3200">
                <a:solidFill>
                  <a:srgbClr val="000000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61367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A212C2-8B30-4835-8711-AA981B6CFBE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4200" y="1435100"/>
            <a:ext cx="11018838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5589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32255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800">
                <a:solidFill>
                  <a:srgbClr val="3F3F3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7569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2EF8A5-01A4-4603-986F-092FE964A3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304700-5445-4C58-B6C5-34A9AEF000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NL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A9CBD6-B2EA-4D9C-A02B-B45A08C14A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1E2CAE-0AF7-43DC-968F-45E6B956AA4B}" type="datetimeFigureOut">
              <a:rPr lang="en-NL" smtClean="0"/>
              <a:t>12/10/2021</a:t>
            </a:fld>
            <a:endParaRPr lang="en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5D0EFC-A16C-4FDC-ACDB-9D4E56EB94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A2DEDC-A50F-4831-9A5E-3C26DC0A1C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41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AFA01CA-FA0E-4054-8554-0A84DEE08BA8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318278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8E7DFE-F084-40D8-B6C8-674D1B8C4E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dirty="0"/>
              <a:t>Click to edit Master title style</a:t>
            </a:r>
            <a:endParaRPr lang="en-NL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D06B8E-BF0F-4032-B72E-6307AF172F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1E2CAE-0AF7-43DC-968F-45E6B956AA4B}" type="datetimeFigureOut">
              <a:rPr lang="en-NL" smtClean="0"/>
              <a:t>12/10/2021</a:t>
            </a:fld>
            <a:endParaRPr lang="en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E7BE0B-00E7-47A7-9F57-E9E838527E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591B46-4551-4DD4-9726-8CE5D53F3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41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AFA01CA-FA0E-4054-8554-0A84DEE08BA8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690441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E9584E-8BDD-4756-80D4-2CE632193D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9D8D2C-B27B-4ABC-9C39-41965271FCB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8F5DDF6-C529-42A7-B553-517FCBBF71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B405F5D-04AD-4599-B46C-155DD392F1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1E2CAE-0AF7-43DC-968F-45E6B956AA4B}" type="datetimeFigureOut">
              <a:rPr lang="en-NL" smtClean="0"/>
              <a:t>12/10/2021</a:t>
            </a:fld>
            <a:endParaRPr lang="en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34B5E8B-D0FF-40C0-97B4-867DF17180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CC94DA0-DECA-41E4-B80B-938771EA90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41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AFA01CA-FA0E-4054-8554-0A84DEE08BA8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677382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823430-FF43-48DF-A2E9-E7103A7058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EF6292-D563-4F85-B2CC-056649DB34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11294F4-5C2E-4083-9C13-AB7B62AFC14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BCA8C98-5548-4DA4-A15A-AC97FD8DC05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35E318C-F287-44A3-91C1-1A92A2DA705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44F8DF5-DEDD-45CC-AD48-9AE52BBA20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1E2CAE-0AF7-43DC-968F-45E6B956AA4B}" type="datetimeFigureOut">
              <a:rPr lang="en-NL" smtClean="0"/>
              <a:t>12/10/2021</a:t>
            </a:fld>
            <a:endParaRPr lang="en-NL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A570A3C-3513-464C-88D6-444F9E9867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498AFE8-E065-40B2-8341-10DCE61DA3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41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AFA01CA-FA0E-4054-8554-0A84DEE08BA8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16105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C9ECEC-3B12-427B-969F-C60B718FD7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NL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C6E42A9-19E5-4624-AF61-EBD730A192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1E2CAE-0AF7-43DC-968F-45E6B956AA4B}" type="datetimeFigureOut">
              <a:rPr lang="en-NL" smtClean="0"/>
              <a:t>12/10/2021</a:t>
            </a:fld>
            <a:endParaRPr lang="en-N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9E2DA4E-7B7F-4A07-86F3-5B7E7F1BD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AEB592C-D0E2-4F38-81AC-4E1EEBC2F1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41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AFA01CA-FA0E-4054-8554-0A84DEE08BA8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588433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8DC95B-5C86-4F9E-ACE4-860A8B23BF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1E2CAE-0AF7-43DC-968F-45E6B956AA4B}" type="datetimeFigureOut">
              <a:rPr lang="en-NL" smtClean="0"/>
              <a:t>12/10/2021</a:t>
            </a:fld>
            <a:endParaRPr lang="en-NL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6E2A4F4-A7DA-4180-A948-F1383AC1EC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84E352-9625-4FD4-88F7-8E024D345E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41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AFA01CA-FA0E-4054-8554-0A84DEE08BA8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360458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27C6E-2596-4980-801D-4CDA0760F9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lang="en-NL" sz="280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n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F0A240-EA0B-4EAC-A1ED-C6D98FD976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N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BEEAD39-1E5D-42F1-9147-DEB2C8056FC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>
            <a:normAutofit/>
          </a:bodyPr>
          <a:lstStyle>
            <a:lvl1pPr marL="0" indent="0">
              <a:buNone/>
              <a:defRPr lang="en-US" dirty="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BE4B16B-51B6-415D-A454-7BC8A360A3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1E2CAE-0AF7-43DC-968F-45E6B956AA4B}" type="datetimeFigureOut">
              <a:rPr lang="en-NL" smtClean="0"/>
              <a:t>12/10/2021</a:t>
            </a:fld>
            <a:endParaRPr lang="en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0BB79D-5D5A-4F4F-A410-8E42F9D0D9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9FAF42-01AA-4934-A765-D576E8CD17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41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AFA01CA-FA0E-4054-8554-0A84DEE08BA8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579888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8E2757-3BE4-4DB7-9156-9E97D50A37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NL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4864B31-42E3-4363-AEAF-0B120997BFE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6E55C2-2A68-4DE8-94DF-75EB3D8FC66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F023E0C-4446-4F6D-82DD-41CF8E7E75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1E2CAE-0AF7-43DC-968F-45E6B956AA4B}" type="datetimeFigureOut">
              <a:rPr lang="en-NL" smtClean="0"/>
              <a:t>12/10/2021</a:t>
            </a:fld>
            <a:endParaRPr lang="en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97509FF-C794-486A-B998-87F2C0830E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422FFF7-BF6C-4711-843B-4BB5EB23C2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41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AFA01CA-FA0E-4054-8554-0A84DEE08BA8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760123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8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0402C9B-80E2-4CC6-BCCB-09773E9431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723" y="78115"/>
            <a:ext cx="11817893" cy="9649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N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D68C14-B504-4A27-956E-722C2041F8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2723" y="1098198"/>
            <a:ext cx="11817893" cy="50787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NL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863A8A-55E2-4A4B-B99C-26BD58DFE9E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1E2CAE-0AF7-43DC-968F-45E6B956AA4B}" type="datetimeFigureOut">
              <a:rPr lang="en-NL" smtClean="0"/>
              <a:t>12/10/2021</a:t>
            </a:fld>
            <a:endParaRPr lang="en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1120F9-0192-438A-9802-34696E7C7D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NL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3A6A843-5F1C-49C9-9055-DB84A574AFAA}"/>
              </a:ext>
            </a:extLst>
          </p:cNvPr>
          <p:cNvSpPr txBox="1"/>
          <p:nvPr userDrawn="1"/>
        </p:nvSpPr>
        <p:spPr>
          <a:xfrm>
            <a:off x="10978534" y="6408107"/>
            <a:ext cx="110318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accent3"/>
                </a:solidFill>
              </a:rPr>
              <a:t>@</a:t>
            </a:r>
            <a:r>
              <a:rPr lang="en-US" sz="1100" dirty="0" err="1">
                <a:solidFill>
                  <a:schemeClr val="accent3"/>
                </a:solidFill>
              </a:rPr>
              <a:t>egrootenboer</a:t>
            </a:r>
            <a:endParaRPr lang="en-NL" sz="1100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0068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9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4400" kern="1200">
          <a:solidFill>
            <a:schemeClr val="bg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4000" kern="1200">
          <a:solidFill>
            <a:schemeClr val="bg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3600" kern="1200">
          <a:solidFill>
            <a:schemeClr val="bg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3200" kern="1200">
          <a:solidFill>
            <a:schemeClr val="bg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32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19.emf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4.png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.xml"/><Relationship Id="rId6" Type="http://schemas.openxmlformats.org/officeDocument/2006/relationships/image" Target="../media/image13.jpeg"/><Relationship Id="rId11" Type="http://schemas.openxmlformats.org/officeDocument/2006/relationships/image" Target="../media/image18.png"/><Relationship Id="rId5" Type="http://schemas.openxmlformats.org/officeDocument/2006/relationships/image" Target="../media/image12.jpeg"/><Relationship Id="rId10" Type="http://schemas.openxmlformats.org/officeDocument/2006/relationships/image" Target="../media/image17.png"/><Relationship Id="rId4" Type="http://schemas.openxmlformats.org/officeDocument/2006/relationships/image" Target="../media/image11.jpeg"/><Relationship Id="rId9" Type="http://schemas.openxmlformats.org/officeDocument/2006/relationships/image" Target="../media/image16.png"/><Relationship Id="rId14" Type="http://schemas.openxmlformats.org/officeDocument/2006/relationships/image" Target="../media/image20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intelligent-kiosk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1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sv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12" Type="http://schemas.openxmlformats.org/officeDocument/2006/relationships/image" Target="../media/image32.sv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svg"/><Relationship Id="rId11" Type="http://schemas.openxmlformats.org/officeDocument/2006/relationships/image" Target="../media/image31.png"/><Relationship Id="rId5" Type="http://schemas.openxmlformats.org/officeDocument/2006/relationships/image" Target="../media/image25.png"/><Relationship Id="rId10" Type="http://schemas.openxmlformats.org/officeDocument/2006/relationships/image" Target="../media/image30.svg"/><Relationship Id="rId4" Type="http://schemas.openxmlformats.org/officeDocument/2006/relationships/image" Target="../media/image24.svg"/><Relationship Id="rId9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sv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svg"/><Relationship Id="rId5" Type="http://schemas.openxmlformats.org/officeDocument/2006/relationships/image" Target="../media/image35.png"/><Relationship Id="rId4" Type="http://schemas.openxmlformats.org/officeDocument/2006/relationships/image" Target="../media/image34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12" Type="http://schemas.openxmlformats.org/officeDocument/2006/relationships/image" Target="../media/image48.sv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2.svg"/><Relationship Id="rId11" Type="http://schemas.openxmlformats.org/officeDocument/2006/relationships/image" Target="../media/image47.png"/><Relationship Id="rId5" Type="http://schemas.openxmlformats.org/officeDocument/2006/relationships/image" Target="../media/image41.png"/><Relationship Id="rId10" Type="http://schemas.openxmlformats.org/officeDocument/2006/relationships/image" Target="../media/image46.svg"/><Relationship Id="rId4" Type="http://schemas.openxmlformats.org/officeDocument/2006/relationships/image" Target="../media/image40.svg"/><Relationship Id="rId9" Type="http://schemas.openxmlformats.org/officeDocument/2006/relationships/image" Target="../media/image45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svg"/><Relationship Id="rId3" Type="http://schemas.openxmlformats.org/officeDocument/2006/relationships/image" Target="../media/image49.png"/><Relationship Id="rId7" Type="http://schemas.openxmlformats.org/officeDocument/2006/relationships/image" Target="../media/image5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10" Type="http://schemas.openxmlformats.org/officeDocument/2006/relationships/image" Target="../media/image54.svg"/><Relationship Id="rId4" Type="http://schemas.openxmlformats.org/officeDocument/2006/relationships/image" Target="../media/image50.svg"/><Relationship Id="rId9" Type="http://schemas.openxmlformats.org/officeDocument/2006/relationships/image" Target="../media/image5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svg"/><Relationship Id="rId13" Type="http://schemas.openxmlformats.org/officeDocument/2006/relationships/image" Target="../media/image63.png"/><Relationship Id="rId3" Type="http://schemas.openxmlformats.org/officeDocument/2006/relationships/image" Target="../media/image55.png"/><Relationship Id="rId7" Type="http://schemas.openxmlformats.org/officeDocument/2006/relationships/image" Target="../media/image59.png"/><Relationship Id="rId12" Type="http://schemas.openxmlformats.org/officeDocument/2006/relationships/image" Target="../media/image62.sv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8.svg"/><Relationship Id="rId11" Type="http://schemas.openxmlformats.org/officeDocument/2006/relationships/image" Target="../media/image61.png"/><Relationship Id="rId5" Type="http://schemas.openxmlformats.org/officeDocument/2006/relationships/image" Target="../media/image57.png"/><Relationship Id="rId10" Type="http://schemas.openxmlformats.org/officeDocument/2006/relationships/image" Target="../media/image46.svg"/><Relationship Id="rId4" Type="http://schemas.openxmlformats.org/officeDocument/2006/relationships/image" Target="../media/image56.svg"/><Relationship Id="rId9" Type="http://schemas.openxmlformats.org/officeDocument/2006/relationships/image" Target="../media/image45.png"/><Relationship Id="rId14" Type="http://schemas.openxmlformats.org/officeDocument/2006/relationships/image" Target="../media/image64.sv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svg"/><Relationship Id="rId13" Type="http://schemas.openxmlformats.org/officeDocument/2006/relationships/image" Target="../media/image75.png"/><Relationship Id="rId18" Type="http://schemas.openxmlformats.org/officeDocument/2006/relationships/image" Target="../media/image80.svg"/><Relationship Id="rId3" Type="http://schemas.openxmlformats.org/officeDocument/2006/relationships/image" Target="../media/image65.png"/><Relationship Id="rId7" Type="http://schemas.openxmlformats.org/officeDocument/2006/relationships/image" Target="../media/image69.png"/><Relationship Id="rId12" Type="http://schemas.openxmlformats.org/officeDocument/2006/relationships/image" Target="../media/image74.svg"/><Relationship Id="rId17" Type="http://schemas.openxmlformats.org/officeDocument/2006/relationships/image" Target="../media/image79.png"/><Relationship Id="rId2" Type="http://schemas.openxmlformats.org/officeDocument/2006/relationships/notesSlide" Target="../notesSlides/notesSlide17.xml"/><Relationship Id="rId16" Type="http://schemas.openxmlformats.org/officeDocument/2006/relationships/image" Target="../media/image78.svg"/><Relationship Id="rId20" Type="http://schemas.openxmlformats.org/officeDocument/2006/relationships/image" Target="../media/image82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8.svg"/><Relationship Id="rId11" Type="http://schemas.openxmlformats.org/officeDocument/2006/relationships/image" Target="../media/image73.png"/><Relationship Id="rId5" Type="http://schemas.openxmlformats.org/officeDocument/2006/relationships/image" Target="../media/image67.png"/><Relationship Id="rId15" Type="http://schemas.openxmlformats.org/officeDocument/2006/relationships/image" Target="../media/image77.png"/><Relationship Id="rId10" Type="http://schemas.openxmlformats.org/officeDocument/2006/relationships/image" Target="../media/image72.svg"/><Relationship Id="rId19" Type="http://schemas.openxmlformats.org/officeDocument/2006/relationships/image" Target="../media/image81.png"/><Relationship Id="rId4" Type="http://schemas.openxmlformats.org/officeDocument/2006/relationships/image" Target="../media/image66.svg"/><Relationship Id="rId9" Type="http://schemas.openxmlformats.org/officeDocument/2006/relationships/image" Target="../media/image71.png"/><Relationship Id="rId14" Type="http://schemas.openxmlformats.org/officeDocument/2006/relationships/image" Target="../media/image76.sv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svg"/><Relationship Id="rId3" Type="http://schemas.openxmlformats.org/officeDocument/2006/relationships/image" Target="../media/image83.png"/><Relationship Id="rId7" Type="http://schemas.openxmlformats.org/officeDocument/2006/relationships/image" Target="../media/image8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6.svg"/><Relationship Id="rId5" Type="http://schemas.openxmlformats.org/officeDocument/2006/relationships/image" Target="../media/image85.png"/><Relationship Id="rId4" Type="http://schemas.openxmlformats.org/officeDocument/2006/relationships/image" Target="../media/image84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svg"/><Relationship Id="rId3" Type="http://schemas.openxmlformats.org/officeDocument/2006/relationships/image" Target="../media/image90.png"/><Relationship Id="rId7" Type="http://schemas.openxmlformats.org/officeDocument/2006/relationships/image" Target="../media/image9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3.svg"/><Relationship Id="rId5" Type="http://schemas.openxmlformats.org/officeDocument/2006/relationships/image" Target="../media/image92.png"/><Relationship Id="rId4" Type="http://schemas.openxmlformats.org/officeDocument/2006/relationships/image" Target="../media/image91.sv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jpeg"/><Relationship Id="rId2" Type="http://schemas.openxmlformats.org/officeDocument/2006/relationships/image" Target="../media/image99.jpe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image" Target="../media/image98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9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svg"/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5.png"/><Relationship Id="rId5" Type="http://schemas.openxmlformats.org/officeDocument/2006/relationships/image" Target="../media/image104.svg"/><Relationship Id="rId4" Type="http://schemas.openxmlformats.org/officeDocument/2006/relationships/image" Target="../media/image10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svg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0.png"/><Relationship Id="rId5" Type="http://schemas.openxmlformats.org/officeDocument/2006/relationships/image" Target="../media/image109.svg"/><Relationship Id="rId4" Type="http://schemas.openxmlformats.org/officeDocument/2006/relationships/image" Target="../media/image108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svg"/><Relationship Id="rId7" Type="http://schemas.openxmlformats.org/officeDocument/2006/relationships/image" Target="cid:191c269e-742e-4e62-ad2c-51c980e082ca" TargetMode="External"/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5.jpeg"/><Relationship Id="rId5" Type="http://schemas.openxmlformats.org/officeDocument/2006/relationships/image" Target="../media/image114.svg"/><Relationship Id="rId4" Type="http://schemas.openxmlformats.org/officeDocument/2006/relationships/image" Target="../media/image1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svg"/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0.jpeg"/><Relationship Id="rId5" Type="http://schemas.openxmlformats.org/officeDocument/2006/relationships/image" Target="../media/image119.svg"/><Relationship Id="rId4" Type="http://schemas.openxmlformats.org/officeDocument/2006/relationships/image" Target="../media/image118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1.png"/><Relationship Id="rId1" Type="http://schemas.openxmlformats.org/officeDocument/2006/relationships/slideLayout" Target="../slideLayouts/slideLayout10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24.png"/><Relationship Id="rId4" Type="http://schemas.openxmlformats.org/officeDocument/2006/relationships/image" Target="../media/image123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24.png"/><Relationship Id="rId5" Type="http://schemas.openxmlformats.org/officeDocument/2006/relationships/image" Target="../media/image123.png"/><Relationship Id="rId4" Type="http://schemas.openxmlformats.org/officeDocument/2006/relationships/image" Target="../media/image12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sv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27000" b="-2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Arrow&#10;&#10;Description automatically generated with medium confidence">
            <a:extLst>
              <a:ext uri="{FF2B5EF4-FFF2-40B4-BE49-F238E27FC236}">
                <a16:creationId xmlns:a16="http://schemas.microsoft.com/office/drawing/2014/main" id="{A5FA443C-4D07-4E54-86EA-855B2BC0D6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69ADE5B-55E9-485D-8E7E-BB3EA9D2B06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1928" y="6310865"/>
            <a:ext cx="2010599" cy="398877"/>
          </a:xfrm>
          <a:prstGeom prst="rect">
            <a:avLst/>
          </a:prstGeom>
        </p:spPr>
      </p:pic>
      <p:sp>
        <p:nvSpPr>
          <p:cNvPr id="7" name="Title 2"/>
          <p:cNvSpPr>
            <a:spLocks noGrp="1"/>
          </p:cNvSpPr>
          <p:nvPr>
            <p:ph type="ctrTitle"/>
          </p:nvPr>
        </p:nvSpPr>
        <p:spPr>
          <a:xfrm>
            <a:off x="1524649" y="3303756"/>
            <a:ext cx="9142703" cy="1682092"/>
          </a:xfrm>
        </p:spPr>
        <p:txBody>
          <a:bodyPr/>
          <a:lstStyle/>
          <a:p>
            <a:r>
              <a:rPr kumimoji="0" lang="en-US" sz="4800" b="0" i="0" u="none" strike="noStrike" kern="1200" cap="none" spc="-100" normalizeH="0" baseline="0" noProof="0" dirty="0">
                <a:ln w="3175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</a:rPr>
              <a:t>Building Smarter Solutions </a:t>
            </a:r>
            <a:br>
              <a:rPr kumimoji="0" lang="en-US" sz="5400" b="0" i="0" u="none" strike="noStrike" kern="1200" cap="none" spc="-100" normalizeH="0" baseline="0" noProof="0" dirty="0">
                <a:ln w="3175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</a:rPr>
            </a:br>
            <a:r>
              <a:rPr kumimoji="0" lang="en-US" sz="3600" b="0" i="0" u="none" strike="noStrike" kern="1200" cap="none" spc="-100" normalizeH="0" baseline="0" noProof="0" dirty="0">
                <a:ln w="3175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</a:rPr>
              <a:t>Using Azure and Cognitive Services</a:t>
            </a:r>
            <a:endParaRPr lang="nl-NL" sz="5400" dirty="0"/>
          </a:p>
        </p:txBody>
      </p:sp>
      <p:sp>
        <p:nvSpPr>
          <p:cNvPr id="8" name="Text Placeholder 4"/>
          <p:cNvSpPr>
            <a:spLocks noGrp="1"/>
          </p:cNvSpPr>
          <p:nvPr>
            <p:ph type="subTitle" idx="1"/>
          </p:nvPr>
        </p:nvSpPr>
        <p:spPr>
          <a:xfrm>
            <a:off x="1524649" y="5006642"/>
            <a:ext cx="9142703" cy="641714"/>
          </a:xfrm>
        </p:spPr>
        <p:txBody>
          <a:bodyPr/>
          <a:lstStyle/>
          <a:p>
            <a:r>
              <a:rPr lang="en-US" sz="3300" b="1" i="1" dirty="0">
                <a:latin typeface="Segoe UI Light"/>
              </a:rPr>
              <a:t>Eldert Grootenboer</a:t>
            </a:r>
          </a:p>
        </p:txBody>
      </p:sp>
    </p:spTree>
    <p:extLst>
      <p:ext uri="{BB962C8B-B14F-4D97-AF65-F5344CB8AC3E}">
        <p14:creationId xmlns:p14="http://schemas.microsoft.com/office/powerpoint/2010/main" val="21496404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Group 33">
            <a:extLst>
              <a:ext uri="{FF2B5EF4-FFF2-40B4-BE49-F238E27FC236}">
                <a16:creationId xmlns:a16="http://schemas.microsoft.com/office/drawing/2014/main" id="{015611C8-1869-4BBC-8A09-E965065EC8F3}"/>
              </a:ext>
            </a:extLst>
          </p:cNvPr>
          <p:cNvGrpSpPr/>
          <p:nvPr/>
        </p:nvGrpSpPr>
        <p:grpSpPr>
          <a:xfrm>
            <a:off x="9529031" y="1187940"/>
            <a:ext cx="2299769" cy="4862739"/>
            <a:chOff x="9529517" y="1187622"/>
            <a:chExt cx="2300095" cy="4863428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A0A11364-6BD8-4089-A618-10D16930777D}"/>
                </a:ext>
              </a:extLst>
            </p:cNvPr>
            <p:cNvGrpSpPr/>
            <p:nvPr/>
          </p:nvGrpSpPr>
          <p:grpSpPr>
            <a:xfrm>
              <a:off x="9529517" y="1295762"/>
              <a:ext cx="2218629" cy="4755288"/>
              <a:chOff x="9529517" y="1295762"/>
              <a:chExt cx="2218629" cy="4755288"/>
            </a:xfrm>
          </p:grpSpPr>
          <p:sp>
            <p:nvSpPr>
              <p:cNvPr id="83" name="Freeform 97"/>
              <p:cNvSpPr/>
              <p:nvPr/>
            </p:nvSpPr>
            <p:spPr bwMode="auto">
              <a:xfrm>
                <a:off x="9529517" y="1295762"/>
                <a:ext cx="2218629" cy="432692"/>
              </a:xfrm>
              <a:prstGeom prst="rect">
                <a:avLst/>
              </a:prstGeom>
              <a:solidFill>
                <a:srgbClr val="0078D7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46263" tIns="91414" rIns="146263" bIns="9141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50685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866" kern="0">
                    <a:solidFill>
                      <a:srgbClr val="FFFFFF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earch</a:t>
                </a:r>
              </a:p>
            </p:txBody>
          </p:sp>
          <p:sp>
            <p:nvSpPr>
              <p:cNvPr id="64" name="Oval Callout 6"/>
              <p:cNvSpPr/>
              <p:nvPr/>
            </p:nvSpPr>
            <p:spPr bwMode="auto">
              <a:xfrm>
                <a:off x="10335285" y="1915078"/>
                <a:ext cx="1159718" cy="761180"/>
              </a:xfrm>
              <a:prstGeom prst="wedgeRectCallout">
                <a:avLst>
                  <a:gd name="adj1" fmla="val -61078"/>
                  <a:gd name="adj2" fmla="val -8827"/>
                </a:avLst>
              </a:prstGeom>
              <a:solidFill>
                <a:srgbClr val="FFFFFF"/>
              </a:solidFill>
              <a:ln w="9525" cap="flat" cmpd="sng" algn="ctr">
                <a:solidFill>
                  <a:schemeClr val="bg1">
                    <a:lumMod val="75000"/>
                  </a:schemeClr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91427" tIns="91427" rIns="91427" bIns="91427" rtlCol="0" anchor="t" anchorCtr="0"/>
              <a:lstStyle/>
              <a:p>
                <a:pPr defTabSz="895537">
                  <a:lnSpc>
                    <a:spcPct val="90000"/>
                  </a:lnSpc>
                  <a:defRPr/>
                </a:pPr>
                <a:r>
                  <a:rPr lang="en-US" sz="1100" kern="0">
                    <a:gradFill>
                      <a:gsLst>
                        <a:gs pos="84000">
                          <a:srgbClr val="3F3F3F"/>
                        </a:gs>
                        <a:gs pos="43000">
                          <a:srgbClr val="3F3F3F"/>
                        </a:gs>
                      </a:gsLst>
                      <a:lin ang="108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rPr>
                  <a:t>Search for ‘fraud prevention’ </a:t>
                </a:r>
              </a:p>
            </p:txBody>
          </p:sp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353FB77B-24EB-4166-8242-1FB48779FE39}"/>
                  </a:ext>
                </a:extLst>
              </p:cNvPr>
              <p:cNvGrpSpPr/>
              <p:nvPr/>
            </p:nvGrpSpPr>
            <p:grpSpPr>
              <a:xfrm>
                <a:off x="9529517" y="3250824"/>
                <a:ext cx="2218629" cy="2800226"/>
                <a:chOff x="9529517" y="3250824"/>
                <a:chExt cx="2218629" cy="2800226"/>
              </a:xfrm>
            </p:grpSpPr>
            <p:sp>
              <p:nvSpPr>
                <p:cNvPr id="65" name="Pentagon 64"/>
                <p:cNvSpPr/>
                <p:nvPr/>
              </p:nvSpPr>
              <p:spPr bwMode="auto">
                <a:xfrm rot="5400000">
                  <a:off x="10362705" y="2417636"/>
                  <a:ext cx="552253" cy="2218629"/>
                </a:xfrm>
                <a:prstGeom prst="rect">
                  <a:avLst/>
                </a:prstGeom>
                <a:noFill/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vert270" wrap="square" lIns="175711" tIns="140570" rIns="175711" bIns="14057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895772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en-US" sz="1400" kern="0" dirty="0">
                      <a:gradFill>
                        <a:gsLst>
                          <a:gs pos="1333">
                            <a:prstClr val="white"/>
                          </a:gs>
                          <a:gs pos="13000">
                            <a:prstClr val="white"/>
                          </a:gs>
                        </a:gsLst>
                        <a:lin ang="108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rPr>
                    <a:t>Bing News Search</a:t>
                  </a:r>
                </a:p>
              </p:txBody>
            </p:sp>
            <p:sp>
              <p:nvSpPr>
                <p:cNvPr id="107" name="TextBox 7"/>
                <p:cNvSpPr txBox="1"/>
                <p:nvPr/>
              </p:nvSpPr>
              <p:spPr>
                <a:xfrm>
                  <a:off x="9663679" y="3961241"/>
                  <a:ext cx="1282584" cy="164235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lvl="1" defTabSz="895979">
                    <a:defRPr/>
                  </a:pPr>
                  <a:r>
                    <a:rPr lang="en-US" sz="1067" kern="0" dirty="0">
                      <a:solidFill>
                        <a:schemeClr val="bg1"/>
                      </a:solidFill>
                      <a:latin typeface="Segoe UI"/>
                      <a:cs typeface="Consolas" panose="020B0609020204030204" pitchFamily="49" charset="0"/>
                    </a:rPr>
                    <a:t>Here is what I found: </a:t>
                  </a:r>
                </a:p>
              </p:txBody>
            </p:sp>
            <p:sp>
              <p:nvSpPr>
                <p:cNvPr id="117" name="Rectangle 116"/>
                <p:cNvSpPr/>
                <p:nvPr/>
              </p:nvSpPr>
              <p:spPr bwMode="auto">
                <a:xfrm>
                  <a:off x="9999370" y="4185020"/>
                  <a:ext cx="1697727" cy="556824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566" tIns="24376" rIns="36566" bIns="24376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762">
                    <a:lnSpc>
                      <a:spcPct val="90000"/>
                    </a:lnSpc>
                    <a:spcAft>
                      <a:spcPts val="267"/>
                    </a:spcAft>
                    <a:defRPr/>
                  </a:pPr>
                  <a:r>
                    <a:rPr lang="en-US" sz="800">
                      <a:gradFill>
                        <a:gsLst>
                          <a:gs pos="4000">
                            <a:srgbClr val="0078D7"/>
                          </a:gs>
                          <a:gs pos="15000">
                            <a:srgbClr val="0078D7"/>
                          </a:gs>
                        </a:gsLst>
                        <a:lin ang="5400000" scaled="1"/>
                      </a:gra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Information Communications  Media Market News</a:t>
                  </a:r>
                </a:p>
                <a:p>
                  <a:pPr defTabSz="1218762">
                    <a:lnSpc>
                      <a:spcPct val="90000"/>
                    </a:lnSpc>
                    <a:spcAft>
                      <a:spcPts val="267"/>
                    </a:spcAft>
                    <a:defRPr/>
                  </a:pPr>
                  <a:r>
                    <a:rPr lang="en-US" sz="600">
                      <a:solidFill>
                        <a:srgbClr val="505050"/>
                      </a:solidFill>
                      <a:latin typeface="Segoe UI"/>
                      <a:cs typeface="Segoe UI Semibold" panose="020B0702040204020203" pitchFamily="34" charset="0"/>
                    </a:rPr>
                    <a:t>It also investigates the top three expected </a:t>
                  </a:r>
                  <a:r>
                    <a:rPr lang="en-US" sz="600" b="1">
                      <a:solidFill>
                        <a:srgbClr val="505050"/>
                      </a:solidFill>
                      <a:latin typeface="Segoe UI"/>
                      <a:cs typeface="Segoe UI Semibold" panose="020B0702040204020203" pitchFamily="34" charset="0"/>
                    </a:rPr>
                    <a:t>Fraud</a:t>
                  </a:r>
                  <a:r>
                    <a:rPr lang="en-US" sz="600">
                      <a:solidFill>
                        <a:srgbClr val="505050"/>
                      </a:solidFill>
                      <a:latin typeface="Segoe UI"/>
                      <a:cs typeface="Segoe UI Semibold" panose="020B0702040204020203" pitchFamily="34" charset="0"/>
                    </a:rPr>
                    <a:t> Detection and </a:t>
                  </a:r>
                  <a:r>
                    <a:rPr lang="en-US" sz="600" b="1">
                      <a:solidFill>
                        <a:srgbClr val="505050"/>
                      </a:solidFill>
                      <a:latin typeface="Segoe UI"/>
                      <a:cs typeface="Segoe UI Semibold" panose="020B0702040204020203" pitchFamily="34" charset="0"/>
                    </a:rPr>
                    <a:t>Prevention</a:t>
                  </a:r>
                  <a:r>
                    <a:rPr lang="en-US" sz="600">
                      <a:solidFill>
                        <a:srgbClr val="505050"/>
                      </a:solidFill>
                      <a:latin typeface="Segoe UI"/>
                      <a:cs typeface="Segoe UI Semibold" panose="020B0702040204020203" pitchFamily="34" charset="0"/>
                    </a:rPr>
                    <a:t> programs, in terms of demand in key markets…</a:t>
                  </a:r>
                </a:p>
              </p:txBody>
            </p:sp>
            <p:pic>
              <p:nvPicPr>
                <p:cNvPr id="119" name="Picture 118"/>
                <p:cNvPicPr>
                  <a:picLocks noChangeAspect="1"/>
                </p:cNvPicPr>
                <p:nvPr/>
              </p:nvPicPr>
              <p:blipFill rotWithShape="1"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9580984" y="4185020"/>
                  <a:ext cx="422013" cy="557882"/>
                </a:xfrm>
                <a:prstGeom prst="rect">
                  <a:avLst/>
                </a:prstGeom>
              </p:spPr>
            </p:pic>
            <p:sp>
              <p:nvSpPr>
                <p:cNvPr id="120" name="Rectangle 119"/>
                <p:cNvSpPr/>
                <p:nvPr/>
              </p:nvSpPr>
              <p:spPr bwMode="auto">
                <a:xfrm>
                  <a:off x="9999370" y="4780158"/>
                  <a:ext cx="1697727" cy="556824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566" tIns="24376" rIns="36566" bIns="24376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762">
                    <a:lnSpc>
                      <a:spcPct val="90000"/>
                    </a:lnSpc>
                    <a:spcAft>
                      <a:spcPts val="267"/>
                    </a:spcAft>
                    <a:defRPr/>
                  </a:pPr>
                  <a:r>
                    <a:rPr lang="en-US" sz="800">
                      <a:gradFill>
                        <a:gsLst>
                          <a:gs pos="4000">
                            <a:srgbClr val="0078D7"/>
                          </a:gs>
                          <a:gs pos="15000">
                            <a:srgbClr val="0078D7"/>
                          </a:gs>
                        </a:gsLst>
                        <a:lin ang="5400000" scaled="1"/>
                      </a:gra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The Big Question: In-House or Outsourced Fraud Protection?</a:t>
                  </a:r>
                </a:p>
                <a:p>
                  <a:pPr defTabSz="1218762">
                    <a:lnSpc>
                      <a:spcPct val="90000"/>
                    </a:lnSpc>
                    <a:spcAft>
                      <a:spcPts val="267"/>
                    </a:spcAft>
                    <a:defRPr/>
                  </a:pPr>
                  <a:r>
                    <a:rPr lang="en-US" sz="600">
                      <a:solidFill>
                        <a:srgbClr val="505050"/>
                      </a:solidFill>
                      <a:latin typeface="Segoe UI"/>
                      <a:cs typeface="Segoe UI Semibold" panose="020B0702040204020203" pitchFamily="34" charset="0"/>
                    </a:rPr>
                    <a:t>First, let’s point out that there is not one absolute answer—there are “pros” and “cons” to each. Those who favor in-house…</a:t>
                  </a:r>
                </a:p>
              </p:txBody>
            </p:sp>
            <p:pic>
              <p:nvPicPr>
                <p:cNvPr id="121" name="Picture 120"/>
                <p:cNvPicPr>
                  <a:picLocks noChangeAspect="1"/>
                </p:cNvPicPr>
                <p:nvPr/>
              </p:nvPicPr>
              <p:blipFill rotWithShape="1">
                <a:blip r:embed="rId5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9580984" y="4780158"/>
                  <a:ext cx="417433" cy="569960"/>
                </a:xfrm>
                <a:prstGeom prst="rect">
                  <a:avLst/>
                </a:prstGeom>
              </p:spPr>
            </p:pic>
            <p:sp>
              <p:nvSpPr>
                <p:cNvPr id="122" name="Rectangle 121"/>
                <p:cNvSpPr/>
                <p:nvPr/>
              </p:nvSpPr>
              <p:spPr bwMode="auto">
                <a:xfrm>
                  <a:off x="9998417" y="5390881"/>
                  <a:ext cx="1698680" cy="660169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566" tIns="24376" rIns="36566" bIns="24376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762">
                    <a:lnSpc>
                      <a:spcPct val="90000"/>
                    </a:lnSpc>
                    <a:spcAft>
                      <a:spcPts val="267"/>
                    </a:spcAft>
                    <a:defRPr/>
                  </a:pPr>
                  <a:r>
                    <a:rPr lang="en-US" sz="800">
                      <a:gradFill>
                        <a:gsLst>
                          <a:gs pos="4000">
                            <a:srgbClr val="0078D7"/>
                          </a:gs>
                          <a:gs pos="15000">
                            <a:srgbClr val="0078D7"/>
                          </a:gs>
                        </a:gsLst>
                        <a:lin ang="5400000" scaled="1"/>
                      </a:gradFill>
                      <a:latin typeface="Segoe UI Semibold" panose="020B0702040204020203" pitchFamily="34" charset="0"/>
                      <a:ea typeface="Segoe UI" pitchFamily="34" charset="0"/>
                      <a:cs typeface="Segoe UI Semibold" panose="020B0702040204020203" pitchFamily="34" charset="0"/>
                    </a:rPr>
                    <a:t>How to Protect Your Business from Online Fraud this Holiday Season</a:t>
                  </a:r>
                </a:p>
                <a:p>
                  <a:pPr defTabSz="1218762">
                    <a:lnSpc>
                      <a:spcPct val="90000"/>
                    </a:lnSpc>
                    <a:spcAft>
                      <a:spcPts val="267"/>
                    </a:spcAft>
                    <a:defRPr/>
                  </a:pPr>
                  <a:r>
                    <a:rPr lang="en-US" sz="600">
                      <a:solidFill>
                        <a:srgbClr val="505050"/>
                      </a:solidFill>
                      <a:latin typeface="Segoe UI"/>
                      <a:cs typeface="Segoe UI Semibold" panose="020B0702040204020203" pitchFamily="34" charset="0"/>
                    </a:rPr>
                    <a:t>Michael heads fraud prevention tool. Online and mobile shopping are expected to continue growing apace…</a:t>
                  </a:r>
                </a:p>
              </p:txBody>
            </p:sp>
            <p:pic>
              <p:nvPicPr>
                <p:cNvPr id="123" name="Picture 122"/>
                <p:cNvPicPr>
                  <a:picLocks noChangeAspect="1"/>
                </p:cNvPicPr>
                <p:nvPr/>
              </p:nvPicPr>
              <p:blipFill rotWithShape="1">
                <a:blip r:embed="rId6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9580984" y="5390881"/>
                  <a:ext cx="417433" cy="569960"/>
                </a:xfrm>
                <a:prstGeom prst="rect">
                  <a:avLst/>
                </a:prstGeom>
              </p:spPr>
            </p:pic>
          </p:grpSp>
          <p:grpSp>
            <p:nvGrpSpPr>
              <p:cNvPr id="130" name="Group 129">
                <a:extLst>
                  <a:ext uri="{FF2B5EF4-FFF2-40B4-BE49-F238E27FC236}">
                    <a16:creationId xmlns:a16="http://schemas.microsoft.com/office/drawing/2014/main" id="{F3732E56-E6C0-4E82-9C15-FFB73134CF4A}"/>
                  </a:ext>
                </a:extLst>
              </p:cNvPr>
              <p:cNvGrpSpPr/>
              <p:nvPr/>
            </p:nvGrpSpPr>
            <p:grpSpPr>
              <a:xfrm>
                <a:off x="9709376" y="2111940"/>
                <a:ext cx="348356" cy="973067"/>
                <a:chOff x="8754592" y="700282"/>
                <a:chExt cx="151053" cy="421938"/>
              </a:xfrm>
              <a:solidFill>
                <a:schemeClr val="accent3"/>
              </a:solidFill>
            </p:grpSpPr>
            <p:sp>
              <p:nvSpPr>
                <p:cNvPr id="131" name="Freeform 745">
                  <a:extLst>
                    <a:ext uri="{FF2B5EF4-FFF2-40B4-BE49-F238E27FC236}">
                      <a16:creationId xmlns:a16="http://schemas.microsoft.com/office/drawing/2014/main" id="{B10AD9AA-051D-4EF1-881F-86F48B96F40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54592" y="815049"/>
                  <a:ext cx="151053" cy="307171"/>
                </a:xfrm>
                <a:custGeom>
                  <a:avLst/>
                  <a:gdLst>
                    <a:gd name="T0" fmla="*/ 62 w 76"/>
                    <a:gd name="T1" fmla="*/ 0 h 154"/>
                    <a:gd name="T2" fmla="*/ 14 w 76"/>
                    <a:gd name="T3" fmla="*/ 0 h 154"/>
                    <a:gd name="T4" fmla="*/ 0 w 76"/>
                    <a:gd name="T5" fmla="*/ 14 h 154"/>
                    <a:gd name="T6" fmla="*/ 0 w 76"/>
                    <a:gd name="T7" fmla="*/ 79 h 154"/>
                    <a:gd name="T8" fmla="*/ 14 w 76"/>
                    <a:gd name="T9" fmla="*/ 93 h 154"/>
                    <a:gd name="T10" fmla="*/ 14 w 76"/>
                    <a:gd name="T11" fmla="*/ 93 h 154"/>
                    <a:gd name="T12" fmla="*/ 14 w 76"/>
                    <a:gd name="T13" fmla="*/ 140 h 154"/>
                    <a:gd name="T14" fmla="*/ 28 w 76"/>
                    <a:gd name="T15" fmla="*/ 154 h 154"/>
                    <a:gd name="T16" fmla="*/ 49 w 76"/>
                    <a:gd name="T17" fmla="*/ 154 h 154"/>
                    <a:gd name="T18" fmla="*/ 62 w 76"/>
                    <a:gd name="T19" fmla="*/ 140 h 154"/>
                    <a:gd name="T20" fmla="*/ 62 w 76"/>
                    <a:gd name="T21" fmla="*/ 93 h 154"/>
                    <a:gd name="T22" fmla="*/ 62 w 76"/>
                    <a:gd name="T23" fmla="*/ 93 h 154"/>
                    <a:gd name="T24" fmla="*/ 76 w 76"/>
                    <a:gd name="T25" fmla="*/ 79 h 154"/>
                    <a:gd name="T26" fmla="*/ 76 w 76"/>
                    <a:gd name="T27" fmla="*/ 14 h 154"/>
                    <a:gd name="T28" fmla="*/ 62 w 76"/>
                    <a:gd name="T29" fmla="*/ 0 h 1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6" h="154">
                      <a:moveTo>
                        <a:pt x="62" y="0"/>
                      </a:move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6" y="0"/>
                        <a:pt x="0" y="6"/>
                        <a:pt x="0" y="14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87"/>
                        <a:pt x="6" y="93"/>
                        <a:pt x="14" y="93"/>
                      </a:cubicBezTo>
                      <a:cubicBezTo>
                        <a:pt x="14" y="93"/>
                        <a:pt x="14" y="93"/>
                        <a:pt x="14" y="93"/>
                      </a:cubicBezTo>
                      <a:cubicBezTo>
                        <a:pt x="14" y="140"/>
                        <a:pt x="14" y="140"/>
                        <a:pt x="14" y="140"/>
                      </a:cubicBezTo>
                      <a:cubicBezTo>
                        <a:pt x="14" y="148"/>
                        <a:pt x="20" y="154"/>
                        <a:pt x="28" y="154"/>
                      </a:cubicBezTo>
                      <a:cubicBezTo>
                        <a:pt x="49" y="154"/>
                        <a:pt x="49" y="154"/>
                        <a:pt x="49" y="154"/>
                      </a:cubicBezTo>
                      <a:cubicBezTo>
                        <a:pt x="56" y="154"/>
                        <a:pt x="62" y="148"/>
                        <a:pt x="62" y="140"/>
                      </a:cubicBezTo>
                      <a:cubicBezTo>
                        <a:pt x="62" y="93"/>
                        <a:pt x="62" y="93"/>
                        <a:pt x="62" y="93"/>
                      </a:cubicBezTo>
                      <a:cubicBezTo>
                        <a:pt x="62" y="93"/>
                        <a:pt x="62" y="93"/>
                        <a:pt x="62" y="93"/>
                      </a:cubicBezTo>
                      <a:cubicBezTo>
                        <a:pt x="70" y="93"/>
                        <a:pt x="76" y="87"/>
                        <a:pt x="76" y="79"/>
                      </a:cubicBezTo>
                      <a:cubicBezTo>
                        <a:pt x="76" y="14"/>
                        <a:pt x="76" y="14"/>
                        <a:pt x="76" y="14"/>
                      </a:cubicBezTo>
                      <a:cubicBezTo>
                        <a:pt x="76" y="6"/>
                        <a:pt x="70" y="0"/>
                        <a:pt x="62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>
                    <a:solidFill>
                      <a:srgbClr val="3F3F3F"/>
                    </a:solidFill>
                    <a:latin typeface="Segoe UI"/>
                  </a:endParaRPr>
                </a:p>
              </p:txBody>
            </p:sp>
            <p:sp>
              <p:nvSpPr>
                <p:cNvPr id="132" name="Oval 746">
                  <a:extLst>
                    <a:ext uri="{FF2B5EF4-FFF2-40B4-BE49-F238E27FC236}">
                      <a16:creationId xmlns:a16="http://schemas.microsoft.com/office/drawing/2014/main" id="{788E2C36-E97F-4B1D-B1E4-658ED36C010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784128" y="700282"/>
                  <a:ext cx="91982" cy="91138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>
                    <a:solidFill>
                      <a:srgbClr val="3F3F3F"/>
                    </a:solidFill>
                    <a:latin typeface="Segoe UI"/>
                  </a:endParaRPr>
                </a:p>
              </p:txBody>
            </p:sp>
          </p:grpSp>
        </p:grpSp>
        <p:pic>
          <p:nvPicPr>
            <p:cNvPr id="142" name="Picture 141">
              <a:extLst>
                <a:ext uri="{FF2B5EF4-FFF2-40B4-BE49-F238E27FC236}">
                  <a16:creationId xmlns:a16="http://schemas.microsoft.com/office/drawing/2014/main" id="{A3BBDE4D-9328-4813-9964-AFDBEE7992D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180078" y="1187622"/>
              <a:ext cx="649534" cy="649534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34927FD-1972-4C08-9FCB-B6FA57508D41}"/>
              </a:ext>
            </a:extLst>
          </p:cNvPr>
          <p:cNvGrpSpPr/>
          <p:nvPr/>
        </p:nvGrpSpPr>
        <p:grpSpPr>
          <a:xfrm>
            <a:off x="7268880" y="1273356"/>
            <a:ext cx="2218314" cy="4959141"/>
            <a:chOff x="7269046" y="1273050"/>
            <a:chExt cx="2218629" cy="4959845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7B6BA74C-3395-4F77-865D-0C3B6B8E9E84}"/>
                </a:ext>
              </a:extLst>
            </p:cNvPr>
            <p:cNvGrpSpPr/>
            <p:nvPr/>
          </p:nvGrpSpPr>
          <p:grpSpPr>
            <a:xfrm>
              <a:off x="7269046" y="1295762"/>
              <a:ext cx="2218629" cy="4937133"/>
              <a:chOff x="7269046" y="1295762"/>
              <a:chExt cx="2218629" cy="4937133"/>
            </a:xfrm>
          </p:grpSpPr>
          <p:sp>
            <p:nvSpPr>
              <p:cNvPr id="77" name="Freeform 117"/>
              <p:cNvSpPr/>
              <p:nvPr/>
            </p:nvSpPr>
            <p:spPr bwMode="auto">
              <a:xfrm>
                <a:off x="7269046" y="1295762"/>
                <a:ext cx="2218629" cy="432691"/>
              </a:xfrm>
              <a:prstGeom prst="rect">
                <a:avLst/>
              </a:prstGeom>
              <a:solidFill>
                <a:srgbClr val="0078D7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46263" tIns="91414" rIns="146263" bIns="9141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50685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866" kern="0" dirty="0">
                    <a:solidFill>
                      <a:srgbClr val="FFFFFF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Knowledge</a:t>
                </a:r>
              </a:p>
            </p:txBody>
          </p:sp>
          <p:sp>
            <p:nvSpPr>
              <p:cNvPr id="86" name="Oval Callout 6"/>
              <p:cNvSpPr/>
              <p:nvPr/>
            </p:nvSpPr>
            <p:spPr bwMode="auto">
              <a:xfrm>
                <a:off x="8092221" y="1915078"/>
                <a:ext cx="1345945" cy="761180"/>
              </a:xfrm>
              <a:prstGeom prst="wedgeRectCallout">
                <a:avLst>
                  <a:gd name="adj1" fmla="val -58340"/>
                  <a:gd name="adj2" fmla="val -7575"/>
                </a:avLst>
              </a:prstGeom>
              <a:solidFill>
                <a:srgbClr val="FFFFFF"/>
              </a:solidFill>
              <a:ln w="9525" cap="flat" cmpd="sng" algn="ctr">
                <a:solidFill>
                  <a:schemeClr val="bg1">
                    <a:lumMod val="75000"/>
                  </a:schemeClr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wrap="none" lIns="91427" tIns="91427" rIns="91427" bIns="91427" rtlCol="0" anchor="t" anchorCtr="0"/>
              <a:lstStyle/>
              <a:p>
                <a:pPr defTabSz="895537">
                  <a:lnSpc>
                    <a:spcPct val="90000"/>
                  </a:lnSpc>
                  <a:defRPr/>
                </a:pPr>
                <a:r>
                  <a:rPr lang="en-US" sz="1100" kern="0" dirty="0">
                    <a:gradFill>
                      <a:gsLst>
                        <a:gs pos="84000">
                          <a:srgbClr val="3F3F3F"/>
                        </a:gs>
                        <a:gs pos="43000">
                          <a:srgbClr val="3F3F3F"/>
                        </a:gs>
                      </a:gsLst>
                      <a:lin ang="108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rPr>
                  <a:t>Top publications </a:t>
                </a:r>
                <a:br>
                  <a:rPr lang="en-US" sz="1100" kern="0" dirty="0">
                    <a:gradFill>
                      <a:gsLst>
                        <a:gs pos="84000">
                          <a:srgbClr val="3F3F3F"/>
                        </a:gs>
                        <a:gs pos="43000">
                          <a:srgbClr val="3F3F3F"/>
                        </a:gs>
                      </a:gsLst>
                      <a:lin ang="108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rPr>
                </a:br>
                <a:r>
                  <a:rPr lang="en-US" sz="1100" kern="0" dirty="0">
                    <a:gradFill>
                      <a:gsLst>
                        <a:gs pos="84000">
                          <a:srgbClr val="3F3F3F"/>
                        </a:gs>
                        <a:gs pos="43000">
                          <a:srgbClr val="3F3F3F"/>
                        </a:gs>
                      </a:gsLst>
                      <a:lin ang="108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rPr>
                  <a:t>in customer </a:t>
                </a:r>
                <a:br>
                  <a:rPr lang="en-US" sz="1100" kern="0" dirty="0">
                    <a:gradFill>
                      <a:gsLst>
                        <a:gs pos="84000">
                          <a:srgbClr val="3F3F3F"/>
                        </a:gs>
                        <a:gs pos="43000">
                          <a:srgbClr val="3F3F3F"/>
                        </a:gs>
                      </a:gsLst>
                      <a:lin ang="108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rPr>
                </a:br>
                <a:r>
                  <a:rPr lang="en-US" sz="1100" kern="0" dirty="0">
                    <a:gradFill>
                      <a:gsLst>
                        <a:gs pos="84000">
                          <a:srgbClr val="3F3F3F"/>
                        </a:gs>
                        <a:gs pos="43000">
                          <a:srgbClr val="3F3F3F"/>
                        </a:gs>
                      </a:gsLst>
                      <a:lin ang="108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rPr>
                  <a:t>lifecycle trends?</a:t>
                </a:r>
              </a:p>
            </p:txBody>
          </p:sp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1191C108-7039-4FFB-A509-C44EA3D3D461}"/>
                  </a:ext>
                </a:extLst>
              </p:cNvPr>
              <p:cNvGrpSpPr/>
              <p:nvPr/>
            </p:nvGrpSpPr>
            <p:grpSpPr>
              <a:xfrm>
                <a:off x="7269046" y="3250824"/>
                <a:ext cx="2218629" cy="2982071"/>
                <a:chOff x="7269046" y="3250824"/>
                <a:chExt cx="2218629" cy="2982071"/>
              </a:xfrm>
            </p:grpSpPr>
            <p:sp>
              <p:nvSpPr>
                <p:cNvPr id="87" name="Pentagon 86"/>
                <p:cNvSpPr/>
                <p:nvPr/>
              </p:nvSpPr>
              <p:spPr bwMode="auto">
                <a:xfrm rot="5400000">
                  <a:off x="8102235" y="2417635"/>
                  <a:ext cx="552252" cy="2218629"/>
                </a:xfrm>
                <a:prstGeom prst="rect">
                  <a:avLst/>
                </a:prstGeom>
                <a:noFill/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vert270" wrap="square" lIns="175711" tIns="140570" rIns="175711" bIns="14057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895772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en-US" sz="1400" kern="0" dirty="0">
                      <a:gradFill>
                        <a:gsLst>
                          <a:gs pos="1333">
                            <a:prstClr val="white"/>
                          </a:gs>
                          <a:gs pos="13000">
                            <a:prstClr val="white"/>
                          </a:gs>
                        </a:gsLst>
                        <a:lin ang="108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rPr>
                    <a:t>Knowledge Exploration</a:t>
                  </a:r>
                </a:p>
              </p:txBody>
            </p:sp>
            <p:grpSp>
              <p:nvGrpSpPr>
                <p:cNvPr id="41" name="Group 40"/>
                <p:cNvGrpSpPr/>
                <p:nvPr/>
              </p:nvGrpSpPr>
              <p:grpSpPr>
                <a:xfrm>
                  <a:off x="7363470" y="3961241"/>
                  <a:ext cx="2029781" cy="2271654"/>
                  <a:chOff x="5408489" y="2970987"/>
                  <a:chExt cx="1522552" cy="1703982"/>
                </a:xfrm>
              </p:grpSpPr>
              <p:sp>
                <p:nvSpPr>
                  <p:cNvPr id="89" name="TextBox 7"/>
                  <p:cNvSpPr txBox="1"/>
                  <p:nvPr/>
                </p:nvSpPr>
                <p:spPr>
                  <a:xfrm>
                    <a:off x="5408490" y="2970987"/>
                    <a:ext cx="1109838" cy="125581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marL="0" lvl="1" defTabSz="895979">
                      <a:defRPr/>
                    </a:pPr>
                    <a:r>
                      <a:rPr lang="en-US" sz="1067" kern="0" dirty="0">
                        <a:solidFill>
                          <a:schemeClr val="bg1"/>
                        </a:solidFill>
                        <a:latin typeface="Segoe UI"/>
                        <a:cs typeface="Consolas" panose="020B0609020204030204" pitchFamily="49" charset="0"/>
                      </a:rPr>
                      <a:t>Here are the top results:</a:t>
                    </a:r>
                  </a:p>
                </p:txBody>
              </p:sp>
              <p:sp>
                <p:nvSpPr>
                  <p:cNvPr id="13" name="Rectangle 12"/>
                  <p:cNvSpPr/>
                  <p:nvPr/>
                </p:nvSpPr>
                <p:spPr bwMode="auto">
                  <a:xfrm>
                    <a:off x="5408489" y="4419834"/>
                    <a:ext cx="1522552" cy="255135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36566" tIns="24376" rIns="36566" bIns="24376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8762">
                      <a:lnSpc>
                        <a:spcPct val="90000"/>
                      </a:lnSpc>
                      <a:spcAft>
                        <a:spcPts val="267"/>
                      </a:spcAft>
                      <a:defRPr/>
                    </a:pPr>
                    <a:r>
                      <a:rPr lang="en-US" sz="800">
                        <a:gradFill>
                          <a:gsLst>
                            <a:gs pos="4000">
                              <a:srgbClr val="0078D7"/>
                            </a:gs>
                            <a:gs pos="15000">
                              <a:srgbClr val="0078D7"/>
                            </a:gs>
                          </a:gsLst>
                          <a:lin ang="5400000" scaled="1"/>
                        </a:gradFill>
                        <a:latin typeface="Segoe UI Semibold" panose="020B0702040204020203" pitchFamily="34" charset="0"/>
                        <a:cs typeface="Segoe UI Semibold" panose="020B0702040204020203" pitchFamily="34" charset="0"/>
                      </a:rPr>
                      <a:t>Language Around Customer Lifecycles </a:t>
                    </a:r>
                    <a:br>
                      <a:rPr lang="en-US" sz="800">
                        <a:gradFill>
                          <a:gsLst>
                            <a:gs pos="4000">
                              <a:srgbClr val="0078D7"/>
                            </a:gs>
                            <a:gs pos="15000">
                              <a:srgbClr val="0078D7"/>
                            </a:gs>
                          </a:gsLst>
                          <a:lin ang="5400000" scaled="1"/>
                        </a:gradFill>
                        <a:latin typeface="Segoe UI Semibold" panose="020B0702040204020203" pitchFamily="34" charset="0"/>
                        <a:cs typeface="Segoe UI Semibold" panose="020B0702040204020203" pitchFamily="34" charset="0"/>
                      </a:rPr>
                    </a:br>
                    <a:r>
                      <a:rPr lang="en-US" sz="800">
                        <a:gradFill>
                          <a:gsLst>
                            <a:gs pos="4000">
                              <a:srgbClr val="0078D7"/>
                            </a:gs>
                            <a:gs pos="15000">
                              <a:srgbClr val="0078D7"/>
                            </a:gs>
                          </a:gsLst>
                          <a:lin ang="5400000" scaled="1"/>
                        </a:gradFill>
                        <a:latin typeface="Segoe UI Semibold" panose="020B0702040204020203" pitchFamily="34" charset="0"/>
                        <a:cs typeface="Segoe UI Semibold" panose="020B0702040204020203" pitchFamily="34" charset="0"/>
                      </a:rPr>
                      <a:t>in the Banking Industry</a:t>
                    </a:r>
                  </a:p>
                </p:txBody>
              </p:sp>
              <p:sp>
                <p:nvSpPr>
                  <p:cNvPr id="133" name="Rectangle 132"/>
                  <p:cNvSpPr/>
                  <p:nvPr/>
                </p:nvSpPr>
                <p:spPr bwMode="auto">
                  <a:xfrm>
                    <a:off x="6575477" y="4591390"/>
                    <a:ext cx="285861" cy="58610"/>
                  </a:xfrm>
                  <a:prstGeom prst="rect">
                    <a:avLst/>
                  </a:prstGeom>
                  <a:noFill/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8762">
                      <a:lnSpc>
                        <a:spcPct val="90000"/>
                      </a:lnSpc>
                      <a:spcAft>
                        <a:spcPts val="267"/>
                      </a:spcAft>
                      <a:defRPr/>
                    </a:pPr>
                    <a:r>
                      <a:rPr lang="en-US" sz="600">
                        <a:gradFill>
                          <a:gsLst>
                            <a:gs pos="4000">
                              <a:srgbClr val="0078D7"/>
                            </a:gs>
                            <a:gs pos="15000">
                              <a:srgbClr val="0078D7"/>
                            </a:gs>
                          </a:gsLst>
                          <a:lin ang="5400000" scaled="1"/>
                        </a:gradFill>
                        <a:latin typeface="Segoe UI Semibold" panose="020B0702040204020203" pitchFamily="34" charset="0"/>
                        <a:cs typeface="Segoe UI Semibold" panose="020B0702040204020203" pitchFamily="34" charset="0"/>
                      </a:rPr>
                      <a:t>View PDF</a:t>
                    </a:r>
                  </a:p>
                </p:txBody>
              </p:sp>
              <p:sp>
                <p:nvSpPr>
                  <p:cNvPr id="134" name="Rectangle 133"/>
                  <p:cNvSpPr/>
                  <p:nvPr/>
                </p:nvSpPr>
                <p:spPr bwMode="auto">
                  <a:xfrm>
                    <a:off x="5408489" y="3585262"/>
                    <a:ext cx="1522552" cy="432995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36566" tIns="24376" rIns="36566" bIns="24376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8762">
                      <a:lnSpc>
                        <a:spcPct val="90000"/>
                      </a:lnSpc>
                      <a:spcAft>
                        <a:spcPts val="267"/>
                      </a:spcAft>
                      <a:defRPr/>
                    </a:pPr>
                    <a:r>
                      <a:rPr lang="en-US" sz="800">
                        <a:gradFill>
                          <a:gsLst>
                            <a:gs pos="4000">
                              <a:srgbClr val="0078D7"/>
                            </a:gs>
                            <a:gs pos="15000">
                              <a:srgbClr val="0078D7"/>
                            </a:gs>
                          </a:gsLst>
                          <a:lin ang="5400000" scaled="1"/>
                        </a:gradFill>
                        <a:latin typeface="Segoe UI Semibold" panose="020B0702040204020203" pitchFamily="34" charset="0"/>
                        <a:cs typeface="Segoe UI Semibold" panose="020B0702040204020203" pitchFamily="34" charset="0"/>
                      </a:rPr>
                      <a:t>Predictive Customer Lifecycle</a:t>
                    </a:r>
                    <a:br>
                      <a:rPr lang="en-US" sz="800">
                        <a:gradFill>
                          <a:gsLst>
                            <a:gs pos="4000">
                              <a:srgbClr val="0078D7"/>
                            </a:gs>
                            <a:gs pos="15000">
                              <a:srgbClr val="0078D7"/>
                            </a:gs>
                          </a:gsLst>
                          <a:lin ang="5400000" scaled="1"/>
                        </a:gradFill>
                        <a:latin typeface="Segoe UI Semibold" panose="020B0702040204020203" pitchFamily="34" charset="0"/>
                        <a:cs typeface="Segoe UI Semibold" panose="020B0702040204020203" pitchFamily="34" charset="0"/>
                      </a:rPr>
                    </a:br>
                    <a:r>
                      <a:rPr lang="en-US" sz="800">
                        <a:gradFill>
                          <a:gsLst>
                            <a:gs pos="4000">
                              <a:srgbClr val="0078D7"/>
                            </a:gs>
                            <a:gs pos="15000">
                              <a:srgbClr val="0078D7"/>
                            </a:gs>
                          </a:gsLst>
                          <a:lin ang="5400000" scaled="1"/>
                        </a:gradFill>
                        <a:latin typeface="Segoe UI Semibold" panose="020B0702040204020203" pitchFamily="34" charset="0"/>
                        <a:cs typeface="Segoe UI Semibold" panose="020B0702040204020203" pitchFamily="34" charset="0"/>
                      </a:rPr>
                      <a:t>Management (CLM)</a:t>
                    </a:r>
                  </a:p>
                  <a:p>
                    <a:pPr defTabSz="1218762">
                      <a:spcAft>
                        <a:spcPts val="267"/>
                      </a:spcAft>
                      <a:defRPr/>
                    </a:pPr>
                    <a:r>
                      <a:rPr lang="en-US" sz="600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The purpose of </a:t>
                    </a:r>
                    <a:r>
                      <a:rPr lang="en-US" sz="600" b="1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Customer Life-cycle </a:t>
                    </a:r>
                    <a:r>
                      <a:rPr lang="en-US" sz="600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Management (CLM) is to maximize both customer retention and .... Predictive trend analysis provides business visibility.</a:t>
                    </a:r>
                    <a:endParaRPr lang="en-US" sz="600">
                      <a:solidFill>
                        <a:srgbClr val="505050"/>
                      </a:solidFill>
                      <a:latin typeface="Segoe UI"/>
                      <a:cs typeface="Segoe UI Semibold" panose="020B0702040204020203" pitchFamily="34" charset="0"/>
                    </a:endParaRPr>
                  </a:p>
                </p:txBody>
              </p:sp>
              <p:sp>
                <p:nvSpPr>
                  <p:cNvPr id="138" name="Rectangle 137"/>
                  <p:cNvSpPr/>
                  <p:nvPr/>
                </p:nvSpPr>
                <p:spPr bwMode="auto">
                  <a:xfrm>
                    <a:off x="5408489" y="3139639"/>
                    <a:ext cx="1522552" cy="417677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36566" tIns="24376" rIns="36566" bIns="24376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8762">
                      <a:lnSpc>
                        <a:spcPct val="90000"/>
                      </a:lnSpc>
                      <a:spcAft>
                        <a:spcPts val="267"/>
                      </a:spcAft>
                      <a:defRPr/>
                    </a:pPr>
                    <a:r>
                      <a:rPr lang="en-US" sz="800">
                        <a:gradFill>
                          <a:gsLst>
                            <a:gs pos="4000">
                              <a:srgbClr val="0078D7"/>
                            </a:gs>
                            <a:gs pos="15000">
                              <a:srgbClr val="0078D7"/>
                            </a:gs>
                          </a:gsLst>
                          <a:lin ang="5400000" scaled="1"/>
                        </a:gradFill>
                        <a:latin typeface="Segoe UI Semibold" panose="020B0702040204020203" pitchFamily="34" charset="0"/>
                        <a:cs typeface="Segoe UI Semibold" panose="020B0702040204020203" pitchFamily="34" charset="0"/>
                      </a:rPr>
                      <a:t>Customer Relationship Management – </a:t>
                    </a:r>
                    <a:br>
                      <a:rPr lang="en-US" sz="800">
                        <a:gradFill>
                          <a:gsLst>
                            <a:gs pos="4000">
                              <a:srgbClr val="0078D7"/>
                            </a:gs>
                            <a:gs pos="15000">
                              <a:srgbClr val="0078D7"/>
                            </a:gs>
                          </a:gsLst>
                          <a:lin ang="5400000" scaled="1"/>
                        </a:gradFill>
                        <a:latin typeface="Segoe UI Semibold" panose="020B0702040204020203" pitchFamily="34" charset="0"/>
                        <a:cs typeface="Segoe UI Semibold" panose="020B0702040204020203" pitchFamily="34" charset="0"/>
                      </a:rPr>
                    </a:br>
                    <a:r>
                      <a:rPr lang="en-US" sz="800">
                        <a:gradFill>
                          <a:gsLst>
                            <a:gs pos="4000">
                              <a:srgbClr val="0078D7"/>
                            </a:gs>
                            <a:gs pos="15000">
                              <a:srgbClr val="0078D7"/>
                            </a:gs>
                          </a:gsLst>
                          <a:lin ang="5400000" scaled="1"/>
                        </a:gradFill>
                        <a:latin typeface="Segoe UI Semibold" panose="020B0702040204020203" pitchFamily="34" charset="0"/>
                        <a:cs typeface="Segoe UI Semibold" panose="020B0702040204020203" pitchFamily="34" charset="0"/>
                      </a:rPr>
                      <a:t>5 Key Trends for 2014 CRM</a:t>
                    </a:r>
                  </a:p>
                  <a:p>
                    <a:pPr defTabSz="1218762">
                      <a:lnSpc>
                        <a:spcPct val="90000"/>
                      </a:lnSpc>
                      <a:spcAft>
                        <a:spcPts val="267"/>
                      </a:spcAft>
                      <a:defRPr/>
                    </a:pPr>
                    <a:r>
                      <a:rPr lang="en-US" sz="600" b="1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Oct 28, 2015 – </a:t>
                    </a:r>
                    <a:r>
                      <a:rPr lang="en-US" sz="600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Here are FIVE key </a:t>
                    </a:r>
                    <a:r>
                      <a:rPr lang="en-US" sz="600" b="1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trends </a:t>
                    </a:r>
                    <a:r>
                      <a:rPr lang="en-US" sz="600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in 2014 that would help marketers in rolling ... Of late, marketers are looking at </a:t>
                    </a:r>
                    <a:r>
                      <a:rPr lang="en-US" sz="600" b="1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customer lifecycle </a:t>
                    </a:r>
                    <a:r>
                      <a:rPr lang="en-US" sz="600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management (CLM)</a:t>
                    </a:r>
                    <a:endParaRPr lang="en-US" sz="600">
                      <a:solidFill>
                        <a:srgbClr val="505050"/>
                      </a:solidFill>
                      <a:latin typeface="Segoe UI"/>
                      <a:cs typeface="Segoe UI Semibold" panose="020B0702040204020203" pitchFamily="34" charset="0"/>
                    </a:endParaRPr>
                  </a:p>
                </p:txBody>
              </p:sp>
              <p:sp>
                <p:nvSpPr>
                  <p:cNvPr id="140" name="Rectangle 139"/>
                  <p:cNvSpPr/>
                  <p:nvPr/>
                </p:nvSpPr>
                <p:spPr bwMode="auto">
                  <a:xfrm>
                    <a:off x="5408489" y="4046203"/>
                    <a:ext cx="1522552" cy="34568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36566" tIns="24376" rIns="36566" bIns="24376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8762">
                      <a:lnSpc>
                        <a:spcPct val="90000"/>
                      </a:lnSpc>
                      <a:spcAft>
                        <a:spcPts val="267"/>
                      </a:spcAft>
                      <a:defRPr/>
                    </a:pPr>
                    <a:r>
                      <a:rPr lang="en-US" sz="800">
                        <a:gradFill>
                          <a:gsLst>
                            <a:gs pos="4000">
                              <a:srgbClr val="0078D7"/>
                            </a:gs>
                            <a:gs pos="15000">
                              <a:srgbClr val="0078D7"/>
                            </a:gs>
                          </a:gsLst>
                          <a:lin ang="5400000" scaled="1"/>
                        </a:gradFill>
                        <a:latin typeface="Segoe UI Semibold" panose="020B0702040204020203" pitchFamily="34" charset="0"/>
                        <a:cs typeface="Segoe UI Semibold" panose="020B0702040204020203" pitchFamily="34" charset="0"/>
                      </a:rPr>
                      <a:t>Trends 2016: The Future of </a:t>
                    </a:r>
                    <a:br>
                      <a:rPr lang="en-US" sz="800">
                        <a:gradFill>
                          <a:gsLst>
                            <a:gs pos="4000">
                              <a:srgbClr val="0078D7"/>
                            </a:gs>
                            <a:gs pos="15000">
                              <a:srgbClr val="0078D7"/>
                            </a:gs>
                          </a:gsLst>
                          <a:lin ang="5400000" scaled="1"/>
                        </a:gradFill>
                        <a:latin typeface="Segoe UI Semibold" panose="020B0702040204020203" pitchFamily="34" charset="0"/>
                        <a:cs typeface="Segoe UI Semibold" panose="020B0702040204020203" pitchFamily="34" charset="0"/>
                      </a:rPr>
                    </a:br>
                    <a:r>
                      <a:rPr lang="en-US" sz="800">
                        <a:gradFill>
                          <a:gsLst>
                            <a:gs pos="4000">
                              <a:srgbClr val="0078D7"/>
                            </a:gs>
                            <a:gs pos="15000">
                              <a:srgbClr val="0078D7"/>
                            </a:gs>
                          </a:gsLst>
                          <a:lin ang="5400000" scaled="1"/>
                        </a:gradFill>
                        <a:latin typeface="Segoe UI Semibold" panose="020B0702040204020203" pitchFamily="34" charset="0"/>
                        <a:cs typeface="Segoe UI Semibold" panose="020B0702040204020203" pitchFamily="34" charset="0"/>
                      </a:rPr>
                      <a:t>Customer Service</a:t>
                    </a:r>
                  </a:p>
                  <a:p>
                    <a:pPr defTabSz="1218762">
                      <a:lnSpc>
                        <a:spcPct val="90000"/>
                      </a:lnSpc>
                      <a:spcAft>
                        <a:spcPts val="267"/>
                      </a:spcAft>
                      <a:defRPr/>
                    </a:pPr>
                    <a:r>
                      <a:rPr lang="en-US" sz="600" b="1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Jan 5, 2016 </a:t>
                    </a:r>
                    <a:r>
                      <a:rPr lang="en-US" sz="600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– The top 10 </a:t>
                    </a:r>
                    <a:r>
                      <a:rPr lang="en-US" sz="600" b="1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customer </a:t>
                    </a:r>
                    <a:r>
                      <a:rPr lang="en-US" sz="600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service </a:t>
                    </a:r>
                    <a:r>
                      <a:rPr lang="en-US" sz="600" b="1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trends</a:t>
                    </a:r>
                    <a:r>
                      <a:rPr lang="en-US" sz="600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 Semibold" panose="020B0702040204020203" pitchFamily="34" charset="0"/>
                      </a:rPr>
                      <a:t> for 2016 that .... North American Consumer</a:t>
                    </a:r>
                    <a:endParaRPr lang="en-US" sz="600">
                      <a:solidFill>
                        <a:srgbClr val="505050"/>
                      </a:solidFill>
                      <a:latin typeface="Segoe UI"/>
                      <a:cs typeface="Segoe UI Semibold" panose="020B0702040204020203" pitchFamily="34" charset="0"/>
                    </a:endParaRPr>
                  </a:p>
                </p:txBody>
              </p:sp>
            </p:grpSp>
          </p:grpSp>
          <p:grpSp>
            <p:nvGrpSpPr>
              <p:cNvPr id="127" name="Group 126">
                <a:extLst>
                  <a:ext uri="{FF2B5EF4-FFF2-40B4-BE49-F238E27FC236}">
                    <a16:creationId xmlns:a16="http://schemas.microsoft.com/office/drawing/2014/main" id="{31700B75-9955-44E0-B5E0-1910C9AA0D97}"/>
                  </a:ext>
                </a:extLst>
              </p:cNvPr>
              <p:cNvGrpSpPr/>
              <p:nvPr/>
            </p:nvGrpSpPr>
            <p:grpSpPr>
              <a:xfrm>
                <a:off x="7427291" y="2111940"/>
                <a:ext cx="348356" cy="973067"/>
                <a:chOff x="8754592" y="700282"/>
                <a:chExt cx="151053" cy="421938"/>
              </a:xfrm>
              <a:solidFill>
                <a:schemeClr val="accent3"/>
              </a:solidFill>
            </p:grpSpPr>
            <p:sp>
              <p:nvSpPr>
                <p:cNvPr id="128" name="Freeform 745">
                  <a:extLst>
                    <a:ext uri="{FF2B5EF4-FFF2-40B4-BE49-F238E27FC236}">
                      <a16:creationId xmlns:a16="http://schemas.microsoft.com/office/drawing/2014/main" id="{A6D758E7-2B1E-431A-9A78-80C89CE397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54592" y="815049"/>
                  <a:ext cx="151053" cy="307171"/>
                </a:xfrm>
                <a:custGeom>
                  <a:avLst/>
                  <a:gdLst>
                    <a:gd name="T0" fmla="*/ 62 w 76"/>
                    <a:gd name="T1" fmla="*/ 0 h 154"/>
                    <a:gd name="T2" fmla="*/ 14 w 76"/>
                    <a:gd name="T3" fmla="*/ 0 h 154"/>
                    <a:gd name="T4" fmla="*/ 0 w 76"/>
                    <a:gd name="T5" fmla="*/ 14 h 154"/>
                    <a:gd name="T6" fmla="*/ 0 w 76"/>
                    <a:gd name="T7" fmla="*/ 79 h 154"/>
                    <a:gd name="T8" fmla="*/ 14 w 76"/>
                    <a:gd name="T9" fmla="*/ 93 h 154"/>
                    <a:gd name="T10" fmla="*/ 14 w 76"/>
                    <a:gd name="T11" fmla="*/ 93 h 154"/>
                    <a:gd name="T12" fmla="*/ 14 w 76"/>
                    <a:gd name="T13" fmla="*/ 140 h 154"/>
                    <a:gd name="T14" fmla="*/ 28 w 76"/>
                    <a:gd name="T15" fmla="*/ 154 h 154"/>
                    <a:gd name="T16" fmla="*/ 49 w 76"/>
                    <a:gd name="T17" fmla="*/ 154 h 154"/>
                    <a:gd name="T18" fmla="*/ 62 w 76"/>
                    <a:gd name="T19" fmla="*/ 140 h 154"/>
                    <a:gd name="T20" fmla="*/ 62 w 76"/>
                    <a:gd name="T21" fmla="*/ 93 h 154"/>
                    <a:gd name="T22" fmla="*/ 62 w 76"/>
                    <a:gd name="T23" fmla="*/ 93 h 154"/>
                    <a:gd name="T24" fmla="*/ 76 w 76"/>
                    <a:gd name="T25" fmla="*/ 79 h 154"/>
                    <a:gd name="T26" fmla="*/ 76 w 76"/>
                    <a:gd name="T27" fmla="*/ 14 h 154"/>
                    <a:gd name="T28" fmla="*/ 62 w 76"/>
                    <a:gd name="T29" fmla="*/ 0 h 1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6" h="154">
                      <a:moveTo>
                        <a:pt x="62" y="0"/>
                      </a:move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6" y="0"/>
                        <a:pt x="0" y="6"/>
                        <a:pt x="0" y="14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87"/>
                        <a:pt x="6" y="93"/>
                        <a:pt x="14" y="93"/>
                      </a:cubicBezTo>
                      <a:cubicBezTo>
                        <a:pt x="14" y="93"/>
                        <a:pt x="14" y="93"/>
                        <a:pt x="14" y="93"/>
                      </a:cubicBezTo>
                      <a:cubicBezTo>
                        <a:pt x="14" y="140"/>
                        <a:pt x="14" y="140"/>
                        <a:pt x="14" y="140"/>
                      </a:cubicBezTo>
                      <a:cubicBezTo>
                        <a:pt x="14" y="148"/>
                        <a:pt x="20" y="154"/>
                        <a:pt x="28" y="154"/>
                      </a:cubicBezTo>
                      <a:cubicBezTo>
                        <a:pt x="49" y="154"/>
                        <a:pt x="49" y="154"/>
                        <a:pt x="49" y="154"/>
                      </a:cubicBezTo>
                      <a:cubicBezTo>
                        <a:pt x="56" y="154"/>
                        <a:pt x="62" y="148"/>
                        <a:pt x="62" y="140"/>
                      </a:cubicBezTo>
                      <a:cubicBezTo>
                        <a:pt x="62" y="93"/>
                        <a:pt x="62" y="93"/>
                        <a:pt x="62" y="93"/>
                      </a:cubicBezTo>
                      <a:cubicBezTo>
                        <a:pt x="62" y="93"/>
                        <a:pt x="62" y="93"/>
                        <a:pt x="62" y="93"/>
                      </a:cubicBezTo>
                      <a:cubicBezTo>
                        <a:pt x="70" y="93"/>
                        <a:pt x="76" y="87"/>
                        <a:pt x="76" y="79"/>
                      </a:cubicBezTo>
                      <a:cubicBezTo>
                        <a:pt x="76" y="14"/>
                        <a:pt x="76" y="14"/>
                        <a:pt x="76" y="14"/>
                      </a:cubicBezTo>
                      <a:cubicBezTo>
                        <a:pt x="76" y="6"/>
                        <a:pt x="70" y="0"/>
                        <a:pt x="62" y="0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>
                    <a:solidFill>
                      <a:srgbClr val="3F3F3F"/>
                    </a:solidFill>
                    <a:latin typeface="Segoe UI"/>
                  </a:endParaRPr>
                </a:p>
              </p:txBody>
            </p:sp>
            <p:sp>
              <p:nvSpPr>
                <p:cNvPr id="129" name="Oval 746">
                  <a:extLst>
                    <a:ext uri="{FF2B5EF4-FFF2-40B4-BE49-F238E27FC236}">
                      <a16:creationId xmlns:a16="http://schemas.microsoft.com/office/drawing/2014/main" id="{7B8DE745-4694-4D56-971C-609BBF6B14F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784128" y="700282"/>
                  <a:ext cx="91982" cy="91138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>
                    <a:solidFill>
                      <a:srgbClr val="3F3F3F"/>
                    </a:solidFill>
                    <a:latin typeface="Segoe UI"/>
                  </a:endParaRPr>
                </a:p>
              </p:txBody>
            </p:sp>
          </p:grpSp>
        </p:grpSp>
        <p:pic>
          <p:nvPicPr>
            <p:cNvPr id="141" name="Picture 140">
              <a:extLst>
                <a:ext uri="{FF2B5EF4-FFF2-40B4-BE49-F238E27FC236}">
                  <a16:creationId xmlns:a16="http://schemas.microsoft.com/office/drawing/2014/main" id="{22E2DE7C-C155-4B91-B98D-0B1DC52E6DA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966730" y="1273050"/>
              <a:ext cx="520945" cy="518052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3553559-A89E-4D07-A8E6-50B3B5595CF2}"/>
              </a:ext>
            </a:extLst>
          </p:cNvPr>
          <p:cNvGrpSpPr/>
          <p:nvPr/>
        </p:nvGrpSpPr>
        <p:grpSpPr>
          <a:xfrm>
            <a:off x="5008730" y="1225159"/>
            <a:ext cx="2344687" cy="4928807"/>
            <a:chOff x="5008575" y="1224846"/>
            <a:chExt cx="2345020" cy="4929506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B8FD9C31-AD0C-4D39-85B8-B7C5D469D801}"/>
                </a:ext>
              </a:extLst>
            </p:cNvPr>
            <p:cNvGrpSpPr/>
            <p:nvPr/>
          </p:nvGrpSpPr>
          <p:grpSpPr>
            <a:xfrm>
              <a:off x="5008575" y="1295762"/>
              <a:ext cx="2345020" cy="4858590"/>
              <a:chOff x="5008575" y="1295762"/>
              <a:chExt cx="2345020" cy="4858590"/>
            </a:xfrm>
          </p:grpSpPr>
          <p:sp>
            <p:nvSpPr>
              <p:cNvPr id="73" name="Freeform 118"/>
              <p:cNvSpPr/>
              <p:nvPr/>
            </p:nvSpPr>
            <p:spPr bwMode="auto">
              <a:xfrm>
                <a:off x="5008575" y="1295762"/>
                <a:ext cx="2218629" cy="432692"/>
              </a:xfrm>
              <a:prstGeom prst="rect">
                <a:avLst/>
              </a:prstGeom>
              <a:solidFill>
                <a:srgbClr val="0078D7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46263" tIns="91414" rIns="146263" bIns="9141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50685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866" kern="0">
                    <a:solidFill>
                      <a:srgbClr val="FFFFFF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Language</a:t>
                </a:r>
              </a:p>
            </p:txBody>
          </p:sp>
          <p:sp>
            <p:nvSpPr>
              <p:cNvPr id="57" name="Oval Callout 6"/>
              <p:cNvSpPr/>
              <p:nvPr/>
            </p:nvSpPr>
            <p:spPr bwMode="auto">
              <a:xfrm>
                <a:off x="5861775" y="1915078"/>
                <a:ext cx="1159719" cy="761180"/>
              </a:xfrm>
              <a:prstGeom prst="wedgeRectCallout">
                <a:avLst>
                  <a:gd name="adj1" fmla="val -61899"/>
                  <a:gd name="adj2" fmla="val -8201"/>
                </a:avLst>
              </a:prstGeom>
              <a:solidFill>
                <a:srgbClr val="FFFFFF"/>
              </a:solidFill>
              <a:ln w="9525" cap="flat" cmpd="sng" algn="ctr">
                <a:solidFill>
                  <a:schemeClr val="bg1">
                    <a:lumMod val="75000"/>
                  </a:schemeClr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91427" tIns="91427" rIns="91427" bIns="91427" rtlCol="0" anchor="t" anchorCtr="0"/>
              <a:lstStyle/>
              <a:p>
                <a:pPr defTabSz="895537">
                  <a:lnSpc>
                    <a:spcPct val="90000"/>
                  </a:lnSpc>
                  <a:defRPr/>
                </a:pPr>
                <a:r>
                  <a:rPr lang="en-US" sz="1100" kern="0">
                    <a:gradFill>
                      <a:gsLst>
                        <a:gs pos="84000">
                          <a:srgbClr val="3F3F3F"/>
                        </a:gs>
                        <a:gs pos="43000">
                          <a:srgbClr val="3F3F3F"/>
                        </a:gs>
                      </a:gsLst>
                      <a:lin ang="108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rPr>
                  <a:t>Play today’s customer call recording.</a:t>
                </a:r>
              </a:p>
            </p:txBody>
          </p: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0209C1A5-AF58-43BF-A04B-D634DC4E7B8F}"/>
                  </a:ext>
                </a:extLst>
              </p:cNvPr>
              <p:cNvGrpSpPr/>
              <p:nvPr/>
            </p:nvGrpSpPr>
            <p:grpSpPr>
              <a:xfrm>
                <a:off x="5008575" y="3250824"/>
                <a:ext cx="2345020" cy="2903528"/>
                <a:chOff x="5008575" y="3250824"/>
                <a:chExt cx="2345020" cy="2903528"/>
              </a:xfrm>
            </p:grpSpPr>
            <p:sp>
              <p:nvSpPr>
                <p:cNvPr id="54" name="Pentagon 53"/>
                <p:cNvSpPr/>
                <p:nvPr/>
              </p:nvSpPr>
              <p:spPr bwMode="auto">
                <a:xfrm rot="5400000">
                  <a:off x="5841763" y="2417636"/>
                  <a:ext cx="552253" cy="2218629"/>
                </a:xfrm>
                <a:prstGeom prst="rect">
                  <a:avLst/>
                </a:prstGeom>
                <a:noFill/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vert270" wrap="square" lIns="175711" tIns="140570" rIns="175711" bIns="14057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895772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en-US" sz="1400" kern="0">
                      <a:gradFill>
                        <a:gsLst>
                          <a:gs pos="1333">
                            <a:prstClr val="white"/>
                          </a:gs>
                          <a:gs pos="13000">
                            <a:prstClr val="white"/>
                          </a:gs>
                        </a:gsLst>
                        <a:lin ang="108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rPr>
                    <a:t>Language Understanding</a:t>
                  </a:r>
                </a:p>
              </p:txBody>
            </p:sp>
            <p:grpSp>
              <p:nvGrpSpPr>
                <p:cNvPr id="48" name="Group 47"/>
                <p:cNvGrpSpPr/>
                <p:nvPr/>
              </p:nvGrpSpPr>
              <p:grpSpPr>
                <a:xfrm>
                  <a:off x="5338209" y="5227926"/>
                  <a:ext cx="1656139" cy="926426"/>
                  <a:chOff x="3964498" y="3921129"/>
                  <a:chExt cx="1242280" cy="694917"/>
                </a:xfrm>
              </p:grpSpPr>
              <p:grpSp>
                <p:nvGrpSpPr>
                  <p:cNvPr id="22" name="Group 21"/>
                  <p:cNvGrpSpPr/>
                  <p:nvPr/>
                </p:nvGrpSpPr>
                <p:grpSpPr>
                  <a:xfrm>
                    <a:off x="4428696" y="3921129"/>
                    <a:ext cx="259565" cy="259565"/>
                    <a:chOff x="7340830" y="-949453"/>
                    <a:chExt cx="1047750" cy="1047750"/>
                  </a:xfrm>
                </p:grpSpPr>
                <p:sp>
                  <p:nvSpPr>
                    <p:cNvPr id="19" name="Isosceles Triangle 18"/>
                    <p:cNvSpPr/>
                    <p:nvPr/>
                  </p:nvSpPr>
                  <p:spPr bwMode="auto">
                    <a:xfrm rot="5400000">
                      <a:off x="7736591" y="-618132"/>
                      <a:ext cx="446734" cy="385116"/>
                    </a:xfrm>
                    <a:prstGeom prst="triangle">
                      <a:avLst/>
                    </a:prstGeom>
                    <a:noFill/>
                    <a:ln w="28575" cap="rnd">
                      <a:solidFill>
                        <a:schemeClr val="bg1"/>
                      </a:solidFill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32137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/>
                      </a:pPr>
                      <a:endParaRPr lang="en-US" sz="2400" kern="0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20" name="Oval 19"/>
                    <p:cNvSpPr/>
                    <p:nvPr/>
                  </p:nvSpPr>
                  <p:spPr bwMode="auto">
                    <a:xfrm>
                      <a:off x="7340830" y="-949453"/>
                      <a:ext cx="1047750" cy="1047750"/>
                    </a:xfrm>
                    <a:prstGeom prst="ellipse">
                      <a:avLst/>
                    </a:prstGeom>
                    <a:noFill/>
                    <a:ln w="28575">
                      <a:solidFill>
                        <a:schemeClr val="bg1"/>
                      </a:solidFill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932137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/>
                      </a:pPr>
                      <a:endParaRPr lang="en-US" sz="2400" kern="0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  <p:sp>
                <p:nvSpPr>
                  <p:cNvPr id="21" name="TextBox 20"/>
                  <p:cNvSpPr txBox="1"/>
                  <p:nvPr/>
                </p:nvSpPr>
                <p:spPr>
                  <a:xfrm>
                    <a:off x="4297966" y="4291108"/>
                    <a:ext cx="585664" cy="114294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defTabSz="932563">
                      <a:lnSpc>
                        <a:spcPct val="90000"/>
                      </a:lnSpc>
                      <a:spcAft>
                        <a:spcPts val="574"/>
                      </a:spcAft>
                      <a:defRPr/>
                    </a:pPr>
                    <a:r>
                      <a:rPr lang="en-US" sz="1100" dirty="0">
                        <a:solidFill>
                          <a:schemeClr val="bg1"/>
                        </a:solidFill>
                        <a:latin typeface="Segoe UI"/>
                        <a:cs typeface="Segoe UI" panose="020B0502040204020203" pitchFamily="34" charset="0"/>
                      </a:rPr>
                      <a:t>Now Playing</a:t>
                    </a:r>
                  </a:p>
                </p:txBody>
              </p:sp>
              <p:sp>
                <p:nvSpPr>
                  <p:cNvPr id="62" name="TextBox 61"/>
                  <p:cNvSpPr txBox="1"/>
                  <p:nvPr/>
                </p:nvSpPr>
                <p:spPr>
                  <a:xfrm>
                    <a:off x="3964498" y="4501752"/>
                    <a:ext cx="1242280" cy="114294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defTabSz="932563">
                      <a:lnSpc>
                        <a:spcPct val="90000"/>
                      </a:lnSpc>
                      <a:spcAft>
                        <a:spcPts val="574"/>
                      </a:spcAft>
                      <a:defRPr/>
                    </a:pPr>
                    <a:r>
                      <a:rPr lang="en-US" sz="1100" dirty="0">
                        <a:solidFill>
                          <a:schemeClr val="bg1"/>
                        </a:solidFill>
                        <a:latin typeface="Segoe UI"/>
                        <a:cs typeface="Segoe UI" panose="020B0502040204020203" pitchFamily="34" charset="0"/>
                      </a:rPr>
                      <a:t>11/29/2016 Customer Call </a:t>
                    </a:r>
                  </a:p>
                </p:txBody>
              </p:sp>
            </p:grpSp>
            <p:sp>
              <p:nvSpPr>
                <p:cNvPr id="114" name="Pentagon 53"/>
                <p:cNvSpPr/>
                <p:nvPr/>
              </p:nvSpPr>
              <p:spPr bwMode="auto">
                <a:xfrm>
                  <a:off x="5157665" y="3976129"/>
                  <a:ext cx="2195930" cy="150682"/>
                </a:xfrm>
                <a:prstGeom prst="rect">
                  <a:avLst/>
                </a:prstGeom>
                <a:noFill/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lvl="1" defTabSz="895979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en-US" sz="1067" kern="0" dirty="0">
                      <a:solidFill>
                        <a:schemeClr val="bg1"/>
                      </a:solidFill>
                      <a:latin typeface="Segoe UI"/>
                    </a:rPr>
                    <a:t>Natural Language Processing</a:t>
                  </a:r>
                </a:p>
              </p:txBody>
            </p:sp>
            <p:sp>
              <p:nvSpPr>
                <p:cNvPr id="115" name="TextBox 7"/>
                <p:cNvSpPr txBox="1"/>
                <p:nvPr/>
              </p:nvSpPr>
              <p:spPr>
                <a:xfrm>
                  <a:off x="5125341" y="4301895"/>
                  <a:ext cx="2022731" cy="826125"/>
                </a:xfrm>
                <a:prstGeom prst="rect">
                  <a:avLst/>
                </a:prstGeom>
                <a:noFill/>
                <a:ln w="25400">
                  <a:noFill/>
                </a:ln>
              </p:spPr>
              <p:txBody>
                <a:bodyPr wrap="square" lIns="175686" tIns="140549" rIns="175686" bIns="140549" rtlCol="0">
                  <a:spAutoFit/>
                </a:bodyPr>
                <a:lstStyle/>
                <a:p>
                  <a:pPr marL="0" lvl="1" defTabSz="895900">
                    <a:defRPr/>
                  </a:pPr>
                  <a:r>
                    <a:rPr lang="en-US" sz="1174" kern="0" dirty="0">
                      <a:solidFill>
                        <a:schemeClr val="bg1"/>
                      </a:solidFill>
                      <a:latin typeface="Consolas" panose="020B0609020204030204" pitchFamily="49" charset="0"/>
                      <a:cs typeface="Consolas" panose="020B0609020204030204" pitchFamily="49" charset="0"/>
                    </a:rPr>
                    <a:t>Intent: </a:t>
                  </a:r>
                  <a:r>
                    <a:rPr lang="en-US" sz="1174" kern="0" dirty="0" err="1">
                      <a:solidFill>
                        <a:schemeClr val="bg1"/>
                      </a:solidFill>
                      <a:latin typeface="Consolas" panose="020B0609020204030204" pitchFamily="49" charset="0"/>
                      <a:cs typeface="Consolas" panose="020B0609020204030204" pitchFamily="49" charset="0"/>
                    </a:rPr>
                    <a:t>PlayCall</a:t>
                  </a:r>
                  <a:endParaRPr lang="en-US" sz="1174" kern="0" dirty="0">
                    <a:solidFill>
                      <a:schemeClr val="bg1"/>
                    </a:solidFill>
                    <a:latin typeface="Consolas" panose="020B0609020204030204" pitchFamily="49" charset="0"/>
                    <a:cs typeface="Consolas" panose="020B0609020204030204" pitchFamily="49" charset="0"/>
                  </a:endParaRPr>
                </a:p>
                <a:p>
                  <a:pPr marL="0" lvl="1" defTabSz="895900">
                    <a:defRPr/>
                  </a:pPr>
                  <a:r>
                    <a:rPr lang="en-US" sz="1174" b="1" kern="0" dirty="0">
                      <a:gradFill>
                        <a:gsLst>
                          <a:gs pos="83582">
                            <a:srgbClr val="0078D7"/>
                          </a:gs>
                          <a:gs pos="62000">
                            <a:srgbClr val="0078D7"/>
                          </a:gs>
                        </a:gsLst>
                        <a:lin ang="5400000" scaled="0"/>
                      </a:gradFill>
                      <a:latin typeface="Consolas" panose="020B0609020204030204" pitchFamily="49" charset="0"/>
                      <a:cs typeface="Consolas" panose="020B0609020204030204" pitchFamily="49" charset="0"/>
                    </a:rPr>
                    <a:t>Content: Customer#</a:t>
                  </a:r>
                </a:p>
                <a:p>
                  <a:pPr marL="0" lvl="1" defTabSz="895900">
                    <a:defRPr/>
                  </a:pPr>
                  <a:r>
                    <a:rPr lang="en-US" sz="1174" b="1" kern="0" dirty="0" err="1">
                      <a:gradFill>
                        <a:gsLst>
                          <a:gs pos="6716">
                            <a:srgbClr val="D83B01"/>
                          </a:gs>
                          <a:gs pos="47000">
                            <a:srgbClr val="D83B01"/>
                          </a:gs>
                        </a:gsLst>
                        <a:lin ang="5400000" scaled="0"/>
                      </a:gradFill>
                      <a:latin typeface="Consolas" panose="020B0609020204030204" pitchFamily="49" charset="0"/>
                      <a:cs typeface="Consolas" panose="020B0609020204030204" pitchFamily="49" charset="0"/>
                    </a:rPr>
                    <a:t>DateTime.date</a:t>
                  </a:r>
                  <a:r>
                    <a:rPr lang="en-US" sz="1174" b="1" kern="0" dirty="0">
                      <a:gradFill>
                        <a:gsLst>
                          <a:gs pos="6716">
                            <a:srgbClr val="D83B01"/>
                          </a:gs>
                          <a:gs pos="47000">
                            <a:srgbClr val="D83B01"/>
                          </a:gs>
                        </a:gsLst>
                        <a:lin ang="5400000" scaled="0"/>
                      </a:gradFill>
                      <a:latin typeface="Consolas" panose="020B0609020204030204" pitchFamily="49" charset="0"/>
                      <a:cs typeface="Consolas" panose="020B0609020204030204" pitchFamily="49" charset="0"/>
                    </a:rPr>
                    <a:t>: today</a:t>
                  </a:r>
                </a:p>
              </p:txBody>
            </p:sp>
          </p:grpSp>
          <p:grpSp>
            <p:nvGrpSpPr>
              <p:cNvPr id="124" name="Group 123">
                <a:extLst>
                  <a:ext uri="{FF2B5EF4-FFF2-40B4-BE49-F238E27FC236}">
                    <a16:creationId xmlns:a16="http://schemas.microsoft.com/office/drawing/2014/main" id="{B4C8770B-619B-478E-9A39-8CE904E3DFDB}"/>
                  </a:ext>
                </a:extLst>
              </p:cNvPr>
              <p:cNvGrpSpPr/>
              <p:nvPr/>
            </p:nvGrpSpPr>
            <p:grpSpPr>
              <a:xfrm>
                <a:off x="5177559" y="2111940"/>
                <a:ext cx="348356" cy="973067"/>
                <a:chOff x="8754592" y="700282"/>
                <a:chExt cx="151053" cy="421938"/>
              </a:xfrm>
              <a:solidFill>
                <a:schemeClr val="accent3"/>
              </a:solidFill>
            </p:grpSpPr>
            <p:sp>
              <p:nvSpPr>
                <p:cNvPr id="125" name="Freeform 745">
                  <a:extLst>
                    <a:ext uri="{FF2B5EF4-FFF2-40B4-BE49-F238E27FC236}">
                      <a16:creationId xmlns:a16="http://schemas.microsoft.com/office/drawing/2014/main" id="{B452F556-6BBB-4EE7-BBA4-EDB454E013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54592" y="815049"/>
                  <a:ext cx="151053" cy="307171"/>
                </a:xfrm>
                <a:custGeom>
                  <a:avLst/>
                  <a:gdLst>
                    <a:gd name="T0" fmla="*/ 62 w 76"/>
                    <a:gd name="T1" fmla="*/ 0 h 154"/>
                    <a:gd name="T2" fmla="*/ 14 w 76"/>
                    <a:gd name="T3" fmla="*/ 0 h 154"/>
                    <a:gd name="T4" fmla="*/ 0 w 76"/>
                    <a:gd name="T5" fmla="*/ 14 h 154"/>
                    <a:gd name="T6" fmla="*/ 0 w 76"/>
                    <a:gd name="T7" fmla="*/ 79 h 154"/>
                    <a:gd name="T8" fmla="*/ 14 w 76"/>
                    <a:gd name="T9" fmla="*/ 93 h 154"/>
                    <a:gd name="T10" fmla="*/ 14 w 76"/>
                    <a:gd name="T11" fmla="*/ 93 h 154"/>
                    <a:gd name="T12" fmla="*/ 14 w 76"/>
                    <a:gd name="T13" fmla="*/ 140 h 154"/>
                    <a:gd name="T14" fmla="*/ 28 w 76"/>
                    <a:gd name="T15" fmla="*/ 154 h 154"/>
                    <a:gd name="T16" fmla="*/ 49 w 76"/>
                    <a:gd name="T17" fmla="*/ 154 h 154"/>
                    <a:gd name="T18" fmla="*/ 62 w 76"/>
                    <a:gd name="T19" fmla="*/ 140 h 154"/>
                    <a:gd name="T20" fmla="*/ 62 w 76"/>
                    <a:gd name="T21" fmla="*/ 93 h 154"/>
                    <a:gd name="T22" fmla="*/ 62 w 76"/>
                    <a:gd name="T23" fmla="*/ 93 h 154"/>
                    <a:gd name="T24" fmla="*/ 76 w 76"/>
                    <a:gd name="T25" fmla="*/ 79 h 154"/>
                    <a:gd name="T26" fmla="*/ 76 w 76"/>
                    <a:gd name="T27" fmla="*/ 14 h 154"/>
                    <a:gd name="T28" fmla="*/ 62 w 76"/>
                    <a:gd name="T29" fmla="*/ 0 h 1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6" h="154">
                      <a:moveTo>
                        <a:pt x="62" y="0"/>
                      </a:move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6" y="0"/>
                        <a:pt x="0" y="6"/>
                        <a:pt x="0" y="14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87"/>
                        <a:pt x="6" y="93"/>
                        <a:pt x="14" y="93"/>
                      </a:cubicBezTo>
                      <a:cubicBezTo>
                        <a:pt x="14" y="93"/>
                        <a:pt x="14" y="93"/>
                        <a:pt x="14" y="93"/>
                      </a:cubicBezTo>
                      <a:cubicBezTo>
                        <a:pt x="14" y="140"/>
                        <a:pt x="14" y="140"/>
                        <a:pt x="14" y="140"/>
                      </a:cubicBezTo>
                      <a:cubicBezTo>
                        <a:pt x="14" y="148"/>
                        <a:pt x="20" y="154"/>
                        <a:pt x="28" y="154"/>
                      </a:cubicBezTo>
                      <a:cubicBezTo>
                        <a:pt x="49" y="154"/>
                        <a:pt x="49" y="154"/>
                        <a:pt x="49" y="154"/>
                      </a:cubicBezTo>
                      <a:cubicBezTo>
                        <a:pt x="56" y="154"/>
                        <a:pt x="62" y="148"/>
                        <a:pt x="62" y="140"/>
                      </a:cubicBezTo>
                      <a:cubicBezTo>
                        <a:pt x="62" y="93"/>
                        <a:pt x="62" y="93"/>
                        <a:pt x="62" y="93"/>
                      </a:cubicBezTo>
                      <a:cubicBezTo>
                        <a:pt x="62" y="93"/>
                        <a:pt x="62" y="93"/>
                        <a:pt x="62" y="93"/>
                      </a:cubicBezTo>
                      <a:cubicBezTo>
                        <a:pt x="70" y="93"/>
                        <a:pt x="76" y="87"/>
                        <a:pt x="76" y="79"/>
                      </a:cubicBezTo>
                      <a:cubicBezTo>
                        <a:pt x="76" y="14"/>
                        <a:pt x="76" y="14"/>
                        <a:pt x="76" y="14"/>
                      </a:cubicBezTo>
                      <a:cubicBezTo>
                        <a:pt x="76" y="6"/>
                        <a:pt x="70" y="0"/>
                        <a:pt x="62" y="0"/>
                      </a:cubicBezTo>
                      <a:close/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 dirty="0">
                    <a:solidFill>
                      <a:srgbClr val="3F3F3F"/>
                    </a:solidFill>
                    <a:latin typeface="Segoe UI"/>
                  </a:endParaRPr>
                </a:p>
              </p:txBody>
            </p:sp>
            <p:sp>
              <p:nvSpPr>
                <p:cNvPr id="126" name="Oval 746">
                  <a:extLst>
                    <a:ext uri="{FF2B5EF4-FFF2-40B4-BE49-F238E27FC236}">
                      <a16:creationId xmlns:a16="http://schemas.microsoft.com/office/drawing/2014/main" id="{BF68AA4D-FA52-4B4F-952D-F8D75C067A3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784128" y="700282"/>
                  <a:ext cx="91982" cy="91138"/>
                </a:xfrm>
                <a:prstGeom prst="ellipse">
                  <a:avLst/>
                </a:prstGeom>
                <a:solidFill>
                  <a:schemeClr val="accent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>
                    <a:solidFill>
                      <a:srgbClr val="3F3F3F"/>
                    </a:solidFill>
                    <a:latin typeface="Segoe UI"/>
                  </a:endParaRPr>
                </a:p>
              </p:txBody>
            </p:sp>
          </p:grpSp>
        </p:grpSp>
        <p:pic>
          <p:nvPicPr>
            <p:cNvPr id="139" name="Picture 138">
              <a:extLst>
                <a:ext uri="{FF2B5EF4-FFF2-40B4-BE49-F238E27FC236}">
                  <a16:creationId xmlns:a16="http://schemas.microsoft.com/office/drawing/2014/main" id="{92D8972E-5205-4392-8A1D-EDE03B2E169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50507" y="1224846"/>
              <a:ext cx="573859" cy="567881"/>
            </a:xfrm>
            <a:prstGeom prst="rect">
              <a:avLst/>
            </a:prstGeom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FDFEA70-DB2C-4D64-BDD9-2142E9438860}"/>
              </a:ext>
            </a:extLst>
          </p:cNvPr>
          <p:cNvGrpSpPr/>
          <p:nvPr/>
        </p:nvGrpSpPr>
        <p:grpSpPr>
          <a:xfrm>
            <a:off x="2748577" y="1249170"/>
            <a:ext cx="2218314" cy="4953641"/>
            <a:chOff x="2748101" y="1248859"/>
            <a:chExt cx="2218629" cy="4954344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16A98EAE-3DBD-46FA-B4A1-BFC3AE78B06E}"/>
                </a:ext>
              </a:extLst>
            </p:cNvPr>
            <p:cNvGrpSpPr/>
            <p:nvPr/>
          </p:nvGrpSpPr>
          <p:grpSpPr>
            <a:xfrm>
              <a:off x="2748101" y="1295762"/>
              <a:ext cx="2218629" cy="4907441"/>
              <a:chOff x="2748101" y="1295762"/>
              <a:chExt cx="2218629" cy="4907441"/>
            </a:xfrm>
          </p:grpSpPr>
          <p:sp>
            <p:nvSpPr>
              <p:cNvPr id="71" name="Freeform 83"/>
              <p:cNvSpPr/>
              <p:nvPr/>
            </p:nvSpPr>
            <p:spPr bwMode="auto">
              <a:xfrm>
                <a:off x="2748101" y="1295762"/>
                <a:ext cx="2218629" cy="432692"/>
              </a:xfrm>
              <a:prstGeom prst="rect">
                <a:avLst/>
              </a:prstGeom>
              <a:solidFill>
                <a:srgbClr val="0078D7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46263" tIns="91414" rIns="146263" bIns="9141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50685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866" kern="0" dirty="0">
                    <a:solidFill>
                      <a:srgbClr val="FFFFFF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peech</a:t>
                </a:r>
              </a:p>
            </p:txBody>
          </p:sp>
          <p:sp>
            <p:nvSpPr>
              <p:cNvPr id="97" name="Oval Callout 6"/>
              <p:cNvSpPr/>
              <p:nvPr/>
            </p:nvSpPr>
            <p:spPr bwMode="auto">
              <a:xfrm>
                <a:off x="3550900" y="1915078"/>
                <a:ext cx="1289293" cy="761180"/>
              </a:xfrm>
              <a:prstGeom prst="wedgeRectCallout">
                <a:avLst>
                  <a:gd name="adj1" fmla="val -58880"/>
                  <a:gd name="adj2" fmla="val -7575"/>
                </a:avLst>
              </a:prstGeom>
              <a:solidFill>
                <a:srgbClr val="FFFFFF"/>
              </a:solidFill>
              <a:ln w="9525" cap="flat" cmpd="sng" algn="ctr">
                <a:solidFill>
                  <a:schemeClr val="bg1">
                    <a:lumMod val="75000"/>
                  </a:schemeClr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91427" tIns="91427" rIns="91427" bIns="91427" rtlCol="0" anchor="t" anchorCtr="0"/>
              <a:lstStyle/>
              <a:p>
                <a:pPr defTabSz="895537">
                  <a:lnSpc>
                    <a:spcPct val="90000"/>
                  </a:lnSpc>
                  <a:defRPr/>
                </a:pPr>
                <a:r>
                  <a:rPr lang="en-US" sz="1100" kern="0" dirty="0">
                    <a:gradFill>
                      <a:gsLst>
                        <a:gs pos="84000">
                          <a:srgbClr val="3F3F3F"/>
                        </a:gs>
                        <a:gs pos="43000">
                          <a:srgbClr val="3F3F3F"/>
                        </a:gs>
                      </a:gsLst>
                      <a:lin ang="108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rPr>
                  <a:t>Give me directions to the nearest local restaurant.</a:t>
                </a:r>
              </a:p>
            </p:txBody>
          </p:sp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5F986A16-8A9C-4A5D-87EA-EB250524FE67}"/>
                  </a:ext>
                </a:extLst>
              </p:cNvPr>
              <p:cNvGrpSpPr/>
              <p:nvPr/>
            </p:nvGrpSpPr>
            <p:grpSpPr>
              <a:xfrm>
                <a:off x="2748101" y="3250824"/>
                <a:ext cx="2218629" cy="2952379"/>
                <a:chOff x="2748101" y="3250824"/>
                <a:chExt cx="2218629" cy="2952379"/>
              </a:xfrm>
            </p:grpSpPr>
            <p:sp>
              <p:nvSpPr>
                <p:cNvPr id="100" name="Pentagon 99"/>
                <p:cNvSpPr/>
                <p:nvPr/>
              </p:nvSpPr>
              <p:spPr bwMode="auto">
                <a:xfrm rot="5400000">
                  <a:off x="3581290" y="2417635"/>
                  <a:ext cx="552251" cy="2218629"/>
                </a:xfrm>
                <a:prstGeom prst="rect">
                  <a:avLst/>
                </a:prstGeom>
                <a:noFill/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vert270" wrap="square" lIns="175711" tIns="140570" rIns="175711" bIns="14057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895772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en-US" sz="1400" kern="0" dirty="0">
                      <a:gradFill>
                        <a:gsLst>
                          <a:gs pos="1333">
                            <a:prstClr val="white"/>
                          </a:gs>
                          <a:gs pos="13000">
                            <a:prstClr val="white"/>
                          </a:gs>
                        </a:gsLst>
                        <a:lin ang="108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rPr>
                    <a:t>Bing Speech</a:t>
                  </a:r>
                </a:p>
              </p:txBody>
            </p:sp>
            <p:grpSp>
              <p:nvGrpSpPr>
                <p:cNvPr id="47" name="Group 46"/>
                <p:cNvGrpSpPr/>
                <p:nvPr/>
              </p:nvGrpSpPr>
              <p:grpSpPr>
                <a:xfrm>
                  <a:off x="2825290" y="4136415"/>
                  <a:ext cx="2064251" cy="2066788"/>
                  <a:chOff x="2067831" y="3102386"/>
                  <a:chExt cx="1548408" cy="1550311"/>
                </a:xfrm>
              </p:grpSpPr>
              <p:grpSp>
                <p:nvGrpSpPr>
                  <p:cNvPr id="4" name="Group 3"/>
                  <p:cNvGrpSpPr/>
                  <p:nvPr/>
                </p:nvGrpSpPr>
                <p:grpSpPr>
                  <a:xfrm>
                    <a:off x="2067831" y="3961502"/>
                    <a:ext cx="1548408" cy="691195"/>
                    <a:chOff x="2762800" y="5351137"/>
                    <a:chExt cx="2139696" cy="955140"/>
                  </a:xfrm>
                </p:grpSpPr>
                <p:sp>
                  <p:nvSpPr>
                    <p:cNvPr id="95" name="TextBox 94"/>
                    <p:cNvSpPr txBox="1"/>
                    <p:nvPr/>
                  </p:nvSpPr>
                  <p:spPr>
                    <a:xfrm>
                      <a:off x="2762800" y="5351137"/>
                      <a:ext cx="2139696" cy="273740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square" lIns="45706" tIns="18282" rIns="45706" bIns="18282" rtlCol="0" anchor="ctr" anchorCtr="0">
                      <a:noAutofit/>
                    </a:bodyPr>
                    <a:lstStyle>
                      <a:defPPr>
                        <a:defRPr lang="en-US"/>
                      </a:defPPr>
                      <a:lvl1pPr marR="0" lvl="0" indent="0" defTabSz="896386" fontAlgn="auto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588"/>
                        </a:spcAft>
                        <a:buClrTx/>
                        <a:buSzTx/>
                        <a:buFontTx/>
                        <a:buNone/>
                        <a:tabLst/>
                        <a:defRPr kumimoji="0" sz="1100" b="0" i="1" u="none" strike="noStrike" kern="0" cap="none" spc="0" normalizeH="0" baseline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defRPr>
                      </a:lvl1pPr>
                    </a:lstStyle>
                    <a:p>
                      <a:pPr defTabSz="932563">
                        <a:spcAft>
                          <a:spcPts val="574"/>
                        </a:spcAft>
                        <a:defRPr/>
                      </a:pPr>
                      <a:r>
                        <a:rPr lang="en-US" i="0" kern="1200" dirty="0">
                          <a:solidFill>
                            <a:schemeClr val="bg1"/>
                          </a:solidFill>
                          <a:latin typeface="Segoe UI"/>
                          <a:cs typeface="Segoe UI" panose="020B0502040204020203" pitchFamily="34" charset="0"/>
                        </a:rPr>
                        <a:t>Convert spoken audio to text </a:t>
                      </a:r>
                    </a:p>
                  </p:txBody>
                </p:sp>
                <p:sp>
                  <p:nvSpPr>
                    <p:cNvPr id="99" name="TextBox 98"/>
                    <p:cNvSpPr txBox="1"/>
                    <p:nvPr/>
                  </p:nvSpPr>
                  <p:spPr>
                    <a:xfrm>
                      <a:off x="2762800" y="5691837"/>
                      <a:ext cx="2139696" cy="273740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square" lIns="45706" tIns="18282" rIns="45706" bIns="18282" rtlCol="0" anchor="ctr" anchorCtr="0">
                      <a:noAutofit/>
                    </a:bodyPr>
                    <a:lstStyle>
                      <a:defPPr>
                        <a:defRPr lang="en-US"/>
                      </a:defPPr>
                      <a:lvl1pPr marR="0" lvl="0" indent="0" defTabSz="896386" fontAlgn="auto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588"/>
                        </a:spcAft>
                        <a:buClrTx/>
                        <a:buSzTx/>
                        <a:buFontTx/>
                        <a:buNone/>
                        <a:tabLst/>
                        <a:defRPr kumimoji="0" sz="1100" b="0" i="1" u="none" strike="noStrike" kern="0" cap="none" spc="0" normalizeH="0" baseline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defRPr>
                      </a:lvl1pPr>
                    </a:lstStyle>
                    <a:p>
                      <a:pPr defTabSz="932563">
                        <a:lnSpc>
                          <a:spcPct val="90000"/>
                        </a:lnSpc>
                        <a:spcAft>
                          <a:spcPts val="574"/>
                        </a:spcAft>
                        <a:defRPr/>
                      </a:pPr>
                      <a:r>
                        <a:rPr lang="en-US" sz="1100" i="0" dirty="0">
                          <a:solidFill>
                            <a:schemeClr val="bg1"/>
                          </a:solidFill>
                          <a:latin typeface="Segoe UI"/>
                          <a:cs typeface="Segoe UI" panose="020B0502040204020203" pitchFamily="34" charset="0"/>
                        </a:rPr>
                        <a:t>Extract intent of user</a:t>
                      </a:r>
                    </a:p>
                  </p:txBody>
                </p:sp>
                <p:sp>
                  <p:nvSpPr>
                    <p:cNvPr id="102" name="TextBox 101"/>
                    <p:cNvSpPr txBox="1"/>
                    <p:nvPr/>
                  </p:nvSpPr>
                  <p:spPr>
                    <a:xfrm>
                      <a:off x="2762800" y="6032537"/>
                      <a:ext cx="2139696" cy="273740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square" lIns="45706" tIns="18282" rIns="45706" bIns="18282" rtlCol="0" anchor="ctr" anchorCtr="0">
                      <a:noAutofit/>
                    </a:bodyPr>
                    <a:lstStyle/>
                    <a:p>
                      <a:pPr defTabSz="932563">
                        <a:lnSpc>
                          <a:spcPct val="90000"/>
                        </a:lnSpc>
                        <a:spcAft>
                          <a:spcPts val="574"/>
                        </a:spcAft>
                        <a:defRPr/>
                      </a:pPr>
                      <a:endParaRPr lang="en-US" sz="1100" dirty="0">
                        <a:solidFill>
                          <a:schemeClr val="bg1"/>
                        </a:solidFill>
                        <a:latin typeface="Segoe UI"/>
                        <a:cs typeface="Segoe UI" panose="020B0502040204020203" pitchFamily="34" charset="0"/>
                      </a:endParaRPr>
                    </a:p>
                  </p:txBody>
                </p:sp>
              </p:grpSp>
              <p:sp>
                <p:nvSpPr>
                  <p:cNvPr id="76" name="Oval Callout 6"/>
                  <p:cNvSpPr/>
                  <p:nvPr/>
                </p:nvSpPr>
                <p:spPr bwMode="auto">
                  <a:xfrm>
                    <a:off x="2078366" y="3102386"/>
                    <a:ext cx="496513" cy="376980"/>
                  </a:xfrm>
                  <a:prstGeom prst="wedgeEllipseCallout">
                    <a:avLst>
                      <a:gd name="adj1" fmla="val 33451"/>
                      <a:gd name="adj2" fmla="val 69382"/>
                    </a:avLst>
                  </a:prstGeom>
                  <a:solidFill>
                    <a:schemeClr val="bg1">
                      <a:lumMod val="85000"/>
                    </a:schemeClr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lIns="0" tIns="0" rIns="0" bIns="0" rtlCol="0" anchor="ctr" anchorCtr="0"/>
                  <a:lstStyle/>
                  <a:p>
                    <a:pPr algn="ctr" defTabSz="895537">
                      <a:lnSpc>
                        <a:spcPts val="1440"/>
                      </a:lnSpc>
                      <a:defRPr/>
                    </a:pPr>
                    <a:endParaRPr lang="en-US" sz="1067" kern="0">
                      <a:solidFill>
                        <a:srgbClr val="505050"/>
                      </a:solidFill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grpSp>
                <p:nvGrpSpPr>
                  <p:cNvPr id="90" name="Group 89"/>
                  <p:cNvGrpSpPr/>
                  <p:nvPr/>
                </p:nvGrpSpPr>
                <p:grpSpPr>
                  <a:xfrm>
                    <a:off x="2931034" y="3143351"/>
                    <a:ext cx="658441" cy="443451"/>
                    <a:chOff x="1374991" y="2239434"/>
                    <a:chExt cx="3540752" cy="2384648"/>
                  </a:xfrm>
                </p:grpSpPr>
                <p:sp>
                  <p:nvSpPr>
                    <p:cNvPr id="94" name="Rectangle 93"/>
                    <p:cNvSpPr/>
                    <p:nvPr/>
                  </p:nvSpPr>
                  <p:spPr bwMode="auto">
                    <a:xfrm>
                      <a:off x="1374991" y="2239434"/>
                      <a:ext cx="3540752" cy="2384648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6350">
                      <a:solidFill>
                        <a:schemeClr val="bg1">
                          <a:lumMod val="75000"/>
                        </a:schemeClr>
                      </a:solidFill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21886" tIns="60943" rIns="121886" bIns="60943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1242849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/>
                      </a:pPr>
                      <a:endParaRPr lang="en-US" sz="3200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103" name="Freeform: Shape 102"/>
                    <p:cNvSpPr/>
                    <p:nvPr/>
                  </p:nvSpPr>
                  <p:spPr bwMode="auto">
                    <a:xfrm>
                      <a:off x="1374991" y="2239434"/>
                      <a:ext cx="3540752" cy="2384648"/>
                    </a:xfrm>
                    <a:custGeom>
                      <a:avLst/>
                      <a:gdLst>
                        <a:gd name="connsiteX0" fmla="*/ 2957934 w 3540752"/>
                        <a:gd name="connsiteY0" fmla="*/ 1889480 h 2384648"/>
                        <a:gd name="connsiteX1" fmla="*/ 3540752 w 3540752"/>
                        <a:gd name="connsiteY1" fmla="*/ 1889480 h 2384648"/>
                        <a:gd name="connsiteX2" fmla="*/ 3540752 w 3540752"/>
                        <a:gd name="connsiteY2" fmla="*/ 2384648 h 2384648"/>
                        <a:gd name="connsiteX3" fmla="*/ 2957934 w 3540752"/>
                        <a:gd name="connsiteY3" fmla="*/ 2384648 h 2384648"/>
                        <a:gd name="connsiteX4" fmla="*/ 1860441 w 3540752"/>
                        <a:gd name="connsiteY4" fmla="*/ 1889480 h 2384648"/>
                        <a:gd name="connsiteX5" fmla="*/ 2845045 w 3540752"/>
                        <a:gd name="connsiteY5" fmla="*/ 1889480 h 2384648"/>
                        <a:gd name="connsiteX6" fmla="*/ 2845045 w 3540752"/>
                        <a:gd name="connsiteY6" fmla="*/ 2384648 h 2384648"/>
                        <a:gd name="connsiteX7" fmla="*/ 1860441 w 3540752"/>
                        <a:gd name="connsiteY7" fmla="*/ 2384648 h 2384648"/>
                        <a:gd name="connsiteX8" fmla="*/ 479628 w 3540752"/>
                        <a:gd name="connsiteY8" fmla="*/ 1889480 h 2384648"/>
                        <a:gd name="connsiteX9" fmla="*/ 1747552 w 3540752"/>
                        <a:gd name="connsiteY9" fmla="*/ 1889480 h 2384648"/>
                        <a:gd name="connsiteX10" fmla="*/ 1747552 w 3540752"/>
                        <a:gd name="connsiteY10" fmla="*/ 2384648 h 2384648"/>
                        <a:gd name="connsiteX11" fmla="*/ 295159 w 3540752"/>
                        <a:gd name="connsiteY11" fmla="*/ 2384648 h 2384648"/>
                        <a:gd name="connsiteX12" fmla="*/ 0 w 3540752"/>
                        <a:gd name="connsiteY12" fmla="*/ 1889480 h 2384648"/>
                        <a:gd name="connsiteX13" fmla="*/ 359160 w 3540752"/>
                        <a:gd name="connsiteY13" fmla="*/ 1889480 h 2384648"/>
                        <a:gd name="connsiteX14" fmla="*/ 174690 w 3540752"/>
                        <a:gd name="connsiteY14" fmla="*/ 2384648 h 2384648"/>
                        <a:gd name="connsiteX15" fmla="*/ 0 w 3540752"/>
                        <a:gd name="connsiteY15" fmla="*/ 2384648 h 2384648"/>
                        <a:gd name="connsiteX16" fmla="*/ 2957934 w 3540752"/>
                        <a:gd name="connsiteY16" fmla="*/ 1275644 h 2384648"/>
                        <a:gd name="connsiteX17" fmla="*/ 3540752 w 3540752"/>
                        <a:gd name="connsiteY17" fmla="*/ 1275644 h 2384648"/>
                        <a:gd name="connsiteX18" fmla="*/ 3540752 w 3540752"/>
                        <a:gd name="connsiteY18" fmla="*/ 1776591 h 2384648"/>
                        <a:gd name="connsiteX19" fmla="*/ 2957934 w 3540752"/>
                        <a:gd name="connsiteY19" fmla="*/ 1776591 h 2384648"/>
                        <a:gd name="connsiteX20" fmla="*/ 1860442 w 3540752"/>
                        <a:gd name="connsiteY20" fmla="*/ 1275644 h 2384648"/>
                        <a:gd name="connsiteX21" fmla="*/ 2845045 w 3540752"/>
                        <a:gd name="connsiteY21" fmla="*/ 1275644 h 2384648"/>
                        <a:gd name="connsiteX22" fmla="*/ 2845045 w 3540752"/>
                        <a:gd name="connsiteY22" fmla="*/ 1776591 h 2384648"/>
                        <a:gd name="connsiteX23" fmla="*/ 1860441 w 3540752"/>
                        <a:gd name="connsiteY23" fmla="*/ 1776591 h 2384648"/>
                        <a:gd name="connsiteX24" fmla="*/ 708307 w 3540752"/>
                        <a:gd name="connsiteY24" fmla="*/ 1275642 h 2384648"/>
                        <a:gd name="connsiteX25" fmla="*/ 1593568 w 3540752"/>
                        <a:gd name="connsiteY25" fmla="*/ 1275642 h 2384648"/>
                        <a:gd name="connsiteX26" fmla="*/ 1593568 w 3540752"/>
                        <a:gd name="connsiteY26" fmla="*/ 1275644 h 2384648"/>
                        <a:gd name="connsiteX27" fmla="*/ 1747553 w 3540752"/>
                        <a:gd name="connsiteY27" fmla="*/ 1275644 h 2384648"/>
                        <a:gd name="connsiteX28" fmla="*/ 1747552 w 3540752"/>
                        <a:gd name="connsiteY28" fmla="*/ 1776591 h 2384648"/>
                        <a:gd name="connsiteX29" fmla="*/ 521684 w 3540752"/>
                        <a:gd name="connsiteY29" fmla="*/ 1776591 h 2384648"/>
                        <a:gd name="connsiteX30" fmla="*/ 0 w 3540752"/>
                        <a:gd name="connsiteY30" fmla="*/ 1267177 h 2384648"/>
                        <a:gd name="connsiteX31" fmla="*/ 590992 w 3540752"/>
                        <a:gd name="connsiteY31" fmla="*/ 1267177 h 2384648"/>
                        <a:gd name="connsiteX32" fmla="*/ 401216 w 3540752"/>
                        <a:gd name="connsiteY32" fmla="*/ 1776591 h 2384648"/>
                        <a:gd name="connsiteX33" fmla="*/ 0 w 3540752"/>
                        <a:gd name="connsiteY33" fmla="*/ 1776591 h 2384648"/>
                        <a:gd name="connsiteX34" fmla="*/ 952755 w 3540752"/>
                        <a:gd name="connsiteY34" fmla="*/ 619476 h 2384648"/>
                        <a:gd name="connsiteX35" fmla="*/ 1747553 w 3540752"/>
                        <a:gd name="connsiteY35" fmla="*/ 619476 h 2384648"/>
                        <a:gd name="connsiteX36" fmla="*/ 1747553 w 3540752"/>
                        <a:gd name="connsiteY36" fmla="*/ 1162753 h 2384648"/>
                        <a:gd name="connsiteX37" fmla="*/ 750362 w 3540752"/>
                        <a:gd name="connsiteY37" fmla="*/ 1162753 h 2384648"/>
                        <a:gd name="connsiteX38" fmla="*/ 0 w 3540752"/>
                        <a:gd name="connsiteY38" fmla="*/ 619475 h 2384648"/>
                        <a:gd name="connsiteX39" fmla="*/ 832286 w 3540752"/>
                        <a:gd name="connsiteY39" fmla="*/ 619475 h 2384648"/>
                        <a:gd name="connsiteX40" fmla="*/ 633048 w 3540752"/>
                        <a:gd name="connsiteY40" fmla="*/ 1154288 h 2384648"/>
                        <a:gd name="connsiteX41" fmla="*/ 0 w 3540752"/>
                        <a:gd name="connsiteY41" fmla="*/ 1154288 h 2384648"/>
                        <a:gd name="connsiteX42" fmla="*/ 2845045 w 3540752"/>
                        <a:gd name="connsiteY42" fmla="*/ 397620 h 2384648"/>
                        <a:gd name="connsiteX43" fmla="*/ 2845045 w 3540752"/>
                        <a:gd name="connsiteY43" fmla="*/ 1162755 h 2384648"/>
                        <a:gd name="connsiteX44" fmla="*/ 1860442 w 3540752"/>
                        <a:gd name="connsiteY44" fmla="*/ 1162755 h 2384648"/>
                        <a:gd name="connsiteX45" fmla="*/ 1860442 w 3540752"/>
                        <a:gd name="connsiteY45" fmla="*/ 619476 h 2384648"/>
                        <a:gd name="connsiteX46" fmla="*/ 2116760 w 3540752"/>
                        <a:gd name="connsiteY46" fmla="*/ 619476 h 2384648"/>
                        <a:gd name="connsiteX47" fmla="*/ 2116760 w 3540752"/>
                        <a:gd name="connsiteY47" fmla="*/ 615861 h 2384648"/>
                        <a:gd name="connsiteX48" fmla="*/ 3540752 w 3540752"/>
                        <a:gd name="connsiteY48" fmla="*/ 189142 h 2384648"/>
                        <a:gd name="connsiteX49" fmla="*/ 3540752 w 3540752"/>
                        <a:gd name="connsiteY49" fmla="*/ 1162755 h 2384648"/>
                        <a:gd name="connsiteX50" fmla="*/ 2957934 w 3540752"/>
                        <a:gd name="connsiteY50" fmla="*/ 1162755 h 2384648"/>
                        <a:gd name="connsiteX51" fmla="*/ 2957934 w 3540752"/>
                        <a:gd name="connsiteY51" fmla="*/ 363792 h 2384648"/>
                        <a:gd name="connsiteX52" fmla="*/ 3241567 w 3540752"/>
                        <a:gd name="connsiteY52" fmla="*/ 0 h 2384648"/>
                        <a:gd name="connsiteX53" fmla="*/ 3540752 w 3540752"/>
                        <a:gd name="connsiteY53" fmla="*/ 0 h 2384648"/>
                        <a:gd name="connsiteX54" fmla="*/ 3540752 w 3540752"/>
                        <a:gd name="connsiteY54" fmla="*/ 71294 h 2384648"/>
                        <a:gd name="connsiteX55" fmla="*/ 3241567 w 3540752"/>
                        <a:gd name="connsiteY55" fmla="*/ 160949 h 2384648"/>
                        <a:gd name="connsiteX56" fmla="*/ 2165242 w 3540752"/>
                        <a:gd name="connsiteY56" fmla="*/ 0 h 2384648"/>
                        <a:gd name="connsiteX57" fmla="*/ 3128678 w 3540752"/>
                        <a:gd name="connsiteY57" fmla="*/ 0 h 2384648"/>
                        <a:gd name="connsiteX58" fmla="*/ 3128678 w 3540752"/>
                        <a:gd name="connsiteY58" fmla="*/ 194777 h 2384648"/>
                        <a:gd name="connsiteX59" fmla="*/ 2165242 w 3540752"/>
                        <a:gd name="connsiteY59" fmla="*/ 483483 h 2384648"/>
                        <a:gd name="connsiteX60" fmla="*/ 1183534 w 3540752"/>
                        <a:gd name="connsiteY60" fmla="*/ 0 h 2384648"/>
                        <a:gd name="connsiteX61" fmla="*/ 2052353 w 3540752"/>
                        <a:gd name="connsiteY61" fmla="*/ 0 h 2384648"/>
                        <a:gd name="connsiteX62" fmla="*/ 2052353 w 3540752"/>
                        <a:gd name="connsiteY62" fmla="*/ 506587 h 2384648"/>
                        <a:gd name="connsiteX63" fmla="*/ 994810 w 3540752"/>
                        <a:gd name="connsiteY63" fmla="*/ 506587 h 2384648"/>
                        <a:gd name="connsiteX64" fmla="*/ 0 w 3540752"/>
                        <a:gd name="connsiteY64" fmla="*/ 0 h 2384648"/>
                        <a:gd name="connsiteX65" fmla="*/ 1063065 w 3540752"/>
                        <a:gd name="connsiteY65" fmla="*/ 0 h 2384648"/>
                        <a:gd name="connsiteX66" fmla="*/ 874342 w 3540752"/>
                        <a:gd name="connsiteY66" fmla="*/ 506586 h 2384648"/>
                        <a:gd name="connsiteX67" fmla="*/ 0 w 3540752"/>
                        <a:gd name="connsiteY67" fmla="*/ 506586 h 238464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</a:cxnLst>
                      <a:rect l="l" t="t" r="r" b="b"/>
                      <a:pathLst>
                        <a:path w="3540752" h="2384648">
                          <a:moveTo>
                            <a:pt x="2957934" y="1889480"/>
                          </a:moveTo>
                          <a:lnTo>
                            <a:pt x="3540752" y="1889480"/>
                          </a:lnTo>
                          <a:lnTo>
                            <a:pt x="3540752" y="2384648"/>
                          </a:lnTo>
                          <a:lnTo>
                            <a:pt x="2957934" y="2384648"/>
                          </a:lnTo>
                          <a:close/>
                          <a:moveTo>
                            <a:pt x="1860441" y="1889480"/>
                          </a:moveTo>
                          <a:lnTo>
                            <a:pt x="2845045" y="1889480"/>
                          </a:lnTo>
                          <a:lnTo>
                            <a:pt x="2845045" y="2384648"/>
                          </a:lnTo>
                          <a:lnTo>
                            <a:pt x="1860441" y="2384648"/>
                          </a:lnTo>
                          <a:close/>
                          <a:moveTo>
                            <a:pt x="479628" y="1889480"/>
                          </a:moveTo>
                          <a:lnTo>
                            <a:pt x="1747552" y="1889480"/>
                          </a:lnTo>
                          <a:lnTo>
                            <a:pt x="1747552" y="2384648"/>
                          </a:lnTo>
                          <a:lnTo>
                            <a:pt x="295159" y="2384648"/>
                          </a:lnTo>
                          <a:close/>
                          <a:moveTo>
                            <a:pt x="0" y="1889480"/>
                          </a:moveTo>
                          <a:lnTo>
                            <a:pt x="359160" y="1889480"/>
                          </a:lnTo>
                          <a:lnTo>
                            <a:pt x="174690" y="2384648"/>
                          </a:lnTo>
                          <a:lnTo>
                            <a:pt x="0" y="2384648"/>
                          </a:lnTo>
                          <a:close/>
                          <a:moveTo>
                            <a:pt x="2957934" y="1275644"/>
                          </a:moveTo>
                          <a:lnTo>
                            <a:pt x="3540752" y="1275644"/>
                          </a:lnTo>
                          <a:lnTo>
                            <a:pt x="3540752" y="1776591"/>
                          </a:lnTo>
                          <a:lnTo>
                            <a:pt x="2957934" y="1776591"/>
                          </a:lnTo>
                          <a:close/>
                          <a:moveTo>
                            <a:pt x="1860442" y="1275644"/>
                          </a:moveTo>
                          <a:lnTo>
                            <a:pt x="2845045" y="1275644"/>
                          </a:lnTo>
                          <a:lnTo>
                            <a:pt x="2845045" y="1776591"/>
                          </a:lnTo>
                          <a:lnTo>
                            <a:pt x="1860441" y="1776591"/>
                          </a:lnTo>
                          <a:close/>
                          <a:moveTo>
                            <a:pt x="708307" y="1275642"/>
                          </a:moveTo>
                          <a:lnTo>
                            <a:pt x="1593568" y="1275642"/>
                          </a:lnTo>
                          <a:lnTo>
                            <a:pt x="1593568" y="1275644"/>
                          </a:lnTo>
                          <a:lnTo>
                            <a:pt x="1747553" y="1275644"/>
                          </a:lnTo>
                          <a:lnTo>
                            <a:pt x="1747552" y="1776591"/>
                          </a:lnTo>
                          <a:lnTo>
                            <a:pt x="521684" y="1776591"/>
                          </a:lnTo>
                          <a:close/>
                          <a:moveTo>
                            <a:pt x="0" y="1267177"/>
                          </a:moveTo>
                          <a:lnTo>
                            <a:pt x="590992" y="1267177"/>
                          </a:lnTo>
                          <a:lnTo>
                            <a:pt x="401216" y="1776591"/>
                          </a:lnTo>
                          <a:lnTo>
                            <a:pt x="0" y="1776591"/>
                          </a:lnTo>
                          <a:close/>
                          <a:moveTo>
                            <a:pt x="952755" y="619476"/>
                          </a:moveTo>
                          <a:lnTo>
                            <a:pt x="1747553" y="619476"/>
                          </a:lnTo>
                          <a:lnTo>
                            <a:pt x="1747553" y="1162753"/>
                          </a:lnTo>
                          <a:lnTo>
                            <a:pt x="750362" y="1162753"/>
                          </a:lnTo>
                          <a:close/>
                          <a:moveTo>
                            <a:pt x="0" y="619475"/>
                          </a:moveTo>
                          <a:lnTo>
                            <a:pt x="832286" y="619475"/>
                          </a:lnTo>
                          <a:lnTo>
                            <a:pt x="633048" y="1154288"/>
                          </a:lnTo>
                          <a:lnTo>
                            <a:pt x="0" y="1154288"/>
                          </a:lnTo>
                          <a:close/>
                          <a:moveTo>
                            <a:pt x="2845045" y="397620"/>
                          </a:moveTo>
                          <a:lnTo>
                            <a:pt x="2845045" y="1162755"/>
                          </a:lnTo>
                          <a:lnTo>
                            <a:pt x="1860442" y="1162755"/>
                          </a:lnTo>
                          <a:lnTo>
                            <a:pt x="1860442" y="619476"/>
                          </a:lnTo>
                          <a:lnTo>
                            <a:pt x="2116760" y="619476"/>
                          </a:lnTo>
                          <a:lnTo>
                            <a:pt x="2116760" y="615861"/>
                          </a:lnTo>
                          <a:close/>
                          <a:moveTo>
                            <a:pt x="3540752" y="189142"/>
                          </a:moveTo>
                          <a:lnTo>
                            <a:pt x="3540752" y="1162755"/>
                          </a:lnTo>
                          <a:lnTo>
                            <a:pt x="2957934" y="1162755"/>
                          </a:lnTo>
                          <a:lnTo>
                            <a:pt x="2957934" y="363792"/>
                          </a:lnTo>
                          <a:close/>
                          <a:moveTo>
                            <a:pt x="3241567" y="0"/>
                          </a:moveTo>
                          <a:lnTo>
                            <a:pt x="3540752" y="0"/>
                          </a:lnTo>
                          <a:lnTo>
                            <a:pt x="3540752" y="71294"/>
                          </a:lnTo>
                          <a:lnTo>
                            <a:pt x="3241567" y="160949"/>
                          </a:lnTo>
                          <a:close/>
                          <a:moveTo>
                            <a:pt x="2165242" y="0"/>
                          </a:moveTo>
                          <a:lnTo>
                            <a:pt x="3128678" y="0"/>
                          </a:lnTo>
                          <a:lnTo>
                            <a:pt x="3128678" y="194777"/>
                          </a:lnTo>
                          <a:lnTo>
                            <a:pt x="2165242" y="483483"/>
                          </a:lnTo>
                          <a:close/>
                          <a:moveTo>
                            <a:pt x="1183534" y="0"/>
                          </a:moveTo>
                          <a:lnTo>
                            <a:pt x="2052353" y="0"/>
                          </a:lnTo>
                          <a:lnTo>
                            <a:pt x="2052353" y="506587"/>
                          </a:lnTo>
                          <a:lnTo>
                            <a:pt x="994810" y="506587"/>
                          </a:lnTo>
                          <a:close/>
                          <a:moveTo>
                            <a:pt x="0" y="0"/>
                          </a:moveTo>
                          <a:lnTo>
                            <a:pt x="1063065" y="0"/>
                          </a:lnTo>
                          <a:lnTo>
                            <a:pt x="874342" y="506586"/>
                          </a:lnTo>
                          <a:lnTo>
                            <a:pt x="0" y="506586"/>
                          </a:lnTo>
                          <a:close/>
                        </a:path>
                      </a:pathLst>
                    </a:custGeom>
                    <a:solidFill>
                      <a:schemeClr val="bg1">
                        <a:lumMod val="85000"/>
                      </a:schemeClr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21886" tIns="60943" rIns="121886" bIns="60943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1242849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/>
                      </a:pPr>
                      <a:endParaRPr lang="en-US" sz="3200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105" name="Freeform: Shape 104"/>
                    <p:cNvSpPr/>
                    <p:nvPr/>
                  </p:nvSpPr>
                  <p:spPr bwMode="auto">
                    <a:xfrm>
                      <a:off x="1477010" y="3693160"/>
                      <a:ext cx="286237" cy="425874"/>
                    </a:xfrm>
                    <a:custGeom>
                      <a:avLst/>
                      <a:gdLst>
                        <a:gd name="connsiteX0" fmla="*/ 338455 w 695960"/>
                        <a:gd name="connsiteY0" fmla="*/ 173990 h 1035474"/>
                        <a:gd name="connsiteX1" fmla="*/ 255905 w 695960"/>
                        <a:gd name="connsiteY1" fmla="*/ 256540 h 1035474"/>
                        <a:gd name="connsiteX2" fmla="*/ 338455 w 695960"/>
                        <a:gd name="connsiteY2" fmla="*/ 339090 h 1035474"/>
                        <a:gd name="connsiteX3" fmla="*/ 421005 w 695960"/>
                        <a:gd name="connsiteY3" fmla="*/ 256540 h 1035474"/>
                        <a:gd name="connsiteX4" fmla="*/ 338455 w 695960"/>
                        <a:gd name="connsiteY4" fmla="*/ 173990 h 1035474"/>
                        <a:gd name="connsiteX5" fmla="*/ 347980 w 695960"/>
                        <a:gd name="connsiteY5" fmla="*/ 0 h 1035474"/>
                        <a:gd name="connsiteX6" fmla="*/ 695960 w 695960"/>
                        <a:gd name="connsiteY6" fmla="*/ 347980 h 1035474"/>
                        <a:gd name="connsiteX7" fmla="*/ 636531 w 695960"/>
                        <a:gd name="connsiteY7" fmla="*/ 542539 h 1035474"/>
                        <a:gd name="connsiteX8" fmla="*/ 620091 w 695960"/>
                        <a:gd name="connsiteY8" fmla="*/ 562465 h 1035474"/>
                        <a:gd name="connsiteX9" fmla="*/ 345440 w 695960"/>
                        <a:gd name="connsiteY9" fmla="*/ 1035474 h 1035474"/>
                        <a:gd name="connsiteX10" fmla="*/ 40640 w 695960"/>
                        <a:gd name="connsiteY10" fmla="*/ 510540 h 1035474"/>
                        <a:gd name="connsiteX11" fmla="*/ 42061 w 695960"/>
                        <a:gd name="connsiteY11" fmla="*/ 510540 h 1035474"/>
                        <a:gd name="connsiteX12" fmla="*/ 27346 w 695960"/>
                        <a:gd name="connsiteY12" fmla="*/ 483430 h 1035474"/>
                        <a:gd name="connsiteX13" fmla="*/ 0 w 695960"/>
                        <a:gd name="connsiteY13" fmla="*/ 347980 h 1035474"/>
                        <a:gd name="connsiteX14" fmla="*/ 347980 w 695960"/>
                        <a:gd name="connsiteY14" fmla="*/ 0 h 103547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</a:cxnLst>
                      <a:rect l="l" t="t" r="r" b="b"/>
                      <a:pathLst>
                        <a:path w="695960" h="1035474">
                          <a:moveTo>
                            <a:pt x="338455" y="173990"/>
                          </a:moveTo>
                          <a:cubicBezTo>
                            <a:pt x="292864" y="173990"/>
                            <a:pt x="255905" y="210949"/>
                            <a:pt x="255905" y="256540"/>
                          </a:cubicBezTo>
                          <a:cubicBezTo>
                            <a:pt x="255905" y="302131"/>
                            <a:pt x="292864" y="339090"/>
                            <a:pt x="338455" y="339090"/>
                          </a:cubicBezTo>
                          <a:cubicBezTo>
                            <a:pt x="384046" y="339090"/>
                            <a:pt x="421005" y="302131"/>
                            <a:pt x="421005" y="256540"/>
                          </a:cubicBezTo>
                          <a:cubicBezTo>
                            <a:pt x="421005" y="210949"/>
                            <a:pt x="384046" y="173990"/>
                            <a:pt x="338455" y="173990"/>
                          </a:cubicBezTo>
                          <a:close/>
                          <a:moveTo>
                            <a:pt x="347980" y="0"/>
                          </a:moveTo>
                          <a:cubicBezTo>
                            <a:pt x="540164" y="0"/>
                            <a:pt x="695960" y="155796"/>
                            <a:pt x="695960" y="347980"/>
                          </a:cubicBezTo>
                          <a:cubicBezTo>
                            <a:pt x="695960" y="420049"/>
                            <a:pt x="674051" y="487001"/>
                            <a:pt x="636531" y="542539"/>
                          </a:cubicBezTo>
                          <a:lnTo>
                            <a:pt x="620091" y="562465"/>
                          </a:lnTo>
                          <a:lnTo>
                            <a:pt x="345440" y="1035474"/>
                          </a:lnTo>
                          <a:lnTo>
                            <a:pt x="40640" y="510540"/>
                          </a:lnTo>
                          <a:lnTo>
                            <a:pt x="42061" y="510540"/>
                          </a:lnTo>
                          <a:lnTo>
                            <a:pt x="27346" y="483430"/>
                          </a:lnTo>
                          <a:cubicBezTo>
                            <a:pt x="9738" y="441798"/>
                            <a:pt x="0" y="396026"/>
                            <a:pt x="0" y="347980"/>
                          </a:cubicBezTo>
                          <a:cubicBezTo>
                            <a:pt x="0" y="155796"/>
                            <a:pt x="155796" y="0"/>
                            <a:pt x="347980" y="0"/>
                          </a:cubicBez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21886" tIns="60943" rIns="121886" bIns="60943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1242849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/>
                      </a:pPr>
                      <a:endParaRPr lang="en-US" sz="3200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106" name="Freeform: Shape 105"/>
                    <p:cNvSpPr/>
                    <p:nvPr/>
                  </p:nvSpPr>
                  <p:spPr bwMode="auto">
                    <a:xfrm>
                      <a:off x="3940810" y="2289810"/>
                      <a:ext cx="286237" cy="425874"/>
                    </a:xfrm>
                    <a:custGeom>
                      <a:avLst/>
                      <a:gdLst>
                        <a:gd name="connsiteX0" fmla="*/ 338455 w 695960"/>
                        <a:gd name="connsiteY0" fmla="*/ 173990 h 1035474"/>
                        <a:gd name="connsiteX1" fmla="*/ 255905 w 695960"/>
                        <a:gd name="connsiteY1" fmla="*/ 256540 h 1035474"/>
                        <a:gd name="connsiteX2" fmla="*/ 338455 w 695960"/>
                        <a:gd name="connsiteY2" fmla="*/ 339090 h 1035474"/>
                        <a:gd name="connsiteX3" fmla="*/ 421005 w 695960"/>
                        <a:gd name="connsiteY3" fmla="*/ 256540 h 1035474"/>
                        <a:gd name="connsiteX4" fmla="*/ 338455 w 695960"/>
                        <a:gd name="connsiteY4" fmla="*/ 173990 h 1035474"/>
                        <a:gd name="connsiteX5" fmla="*/ 347980 w 695960"/>
                        <a:gd name="connsiteY5" fmla="*/ 0 h 1035474"/>
                        <a:gd name="connsiteX6" fmla="*/ 695960 w 695960"/>
                        <a:gd name="connsiteY6" fmla="*/ 347980 h 1035474"/>
                        <a:gd name="connsiteX7" fmla="*/ 636531 w 695960"/>
                        <a:gd name="connsiteY7" fmla="*/ 542539 h 1035474"/>
                        <a:gd name="connsiteX8" fmla="*/ 620091 w 695960"/>
                        <a:gd name="connsiteY8" fmla="*/ 562465 h 1035474"/>
                        <a:gd name="connsiteX9" fmla="*/ 345440 w 695960"/>
                        <a:gd name="connsiteY9" fmla="*/ 1035474 h 1035474"/>
                        <a:gd name="connsiteX10" fmla="*/ 40640 w 695960"/>
                        <a:gd name="connsiteY10" fmla="*/ 510540 h 1035474"/>
                        <a:gd name="connsiteX11" fmla="*/ 42061 w 695960"/>
                        <a:gd name="connsiteY11" fmla="*/ 510540 h 1035474"/>
                        <a:gd name="connsiteX12" fmla="*/ 27346 w 695960"/>
                        <a:gd name="connsiteY12" fmla="*/ 483430 h 1035474"/>
                        <a:gd name="connsiteX13" fmla="*/ 0 w 695960"/>
                        <a:gd name="connsiteY13" fmla="*/ 347980 h 1035474"/>
                        <a:gd name="connsiteX14" fmla="*/ 347980 w 695960"/>
                        <a:gd name="connsiteY14" fmla="*/ 0 h 103547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</a:cxnLst>
                      <a:rect l="l" t="t" r="r" b="b"/>
                      <a:pathLst>
                        <a:path w="695960" h="1035474">
                          <a:moveTo>
                            <a:pt x="338455" y="173990"/>
                          </a:moveTo>
                          <a:cubicBezTo>
                            <a:pt x="292864" y="173990"/>
                            <a:pt x="255905" y="210949"/>
                            <a:pt x="255905" y="256540"/>
                          </a:cubicBezTo>
                          <a:cubicBezTo>
                            <a:pt x="255905" y="302131"/>
                            <a:pt x="292864" y="339090"/>
                            <a:pt x="338455" y="339090"/>
                          </a:cubicBezTo>
                          <a:cubicBezTo>
                            <a:pt x="384046" y="339090"/>
                            <a:pt x="421005" y="302131"/>
                            <a:pt x="421005" y="256540"/>
                          </a:cubicBezTo>
                          <a:cubicBezTo>
                            <a:pt x="421005" y="210949"/>
                            <a:pt x="384046" y="173990"/>
                            <a:pt x="338455" y="173990"/>
                          </a:cubicBezTo>
                          <a:close/>
                          <a:moveTo>
                            <a:pt x="347980" y="0"/>
                          </a:moveTo>
                          <a:cubicBezTo>
                            <a:pt x="540164" y="0"/>
                            <a:pt x="695960" y="155796"/>
                            <a:pt x="695960" y="347980"/>
                          </a:cubicBezTo>
                          <a:cubicBezTo>
                            <a:pt x="695960" y="420049"/>
                            <a:pt x="674051" y="487001"/>
                            <a:pt x="636531" y="542539"/>
                          </a:cubicBezTo>
                          <a:lnTo>
                            <a:pt x="620091" y="562465"/>
                          </a:lnTo>
                          <a:lnTo>
                            <a:pt x="345440" y="1035474"/>
                          </a:lnTo>
                          <a:lnTo>
                            <a:pt x="40640" y="510540"/>
                          </a:lnTo>
                          <a:lnTo>
                            <a:pt x="42061" y="510540"/>
                          </a:lnTo>
                          <a:lnTo>
                            <a:pt x="27346" y="483430"/>
                          </a:lnTo>
                          <a:cubicBezTo>
                            <a:pt x="9738" y="441798"/>
                            <a:pt x="0" y="396026"/>
                            <a:pt x="0" y="347980"/>
                          </a:cubicBezTo>
                          <a:cubicBezTo>
                            <a:pt x="0" y="155796"/>
                            <a:pt x="155796" y="0"/>
                            <a:pt x="347980" y="0"/>
                          </a:cubicBez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21886" tIns="60943" rIns="121886" bIns="60943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1242849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/>
                      </a:pPr>
                      <a:endParaRPr lang="en-US" sz="3200">
                        <a:solidFill>
                          <a:srgbClr val="505050"/>
                        </a:solidFill>
                        <a:latin typeface="Segoe UI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108" name="Freeform: Shape 107"/>
                    <p:cNvSpPr/>
                    <p:nvPr/>
                  </p:nvSpPr>
                  <p:spPr bwMode="auto">
                    <a:xfrm>
                      <a:off x="1657350" y="2546350"/>
                      <a:ext cx="2597150" cy="1538816"/>
                    </a:xfrm>
                    <a:custGeom>
                      <a:avLst/>
                      <a:gdLst>
                        <a:gd name="connsiteX0" fmla="*/ 0 w 2597150"/>
                        <a:gd name="connsiteY0" fmla="*/ 1555750 h 1555750"/>
                        <a:gd name="connsiteX1" fmla="*/ 1517650 w 2597150"/>
                        <a:gd name="connsiteY1" fmla="*/ 1555750 h 1555750"/>
                        <a:gd name="connsiteX2" fmla="*/ 1517650 w 2597150"/>
                        <a:gd name="connsiteY2" fmla="*/ 895350 h 1555750"/>
                        <a:gd name="connsiteX3" fmla="*/ 2597150 w 2597150"/>
                        <a:gd name="connsiteY3" fmla="*/ 895350 h 1555750"/>
                        <a:gd name="connsiteX4" fmla="*/ 2597150 w 2597150"/>
                        <a:gd name="connsiteY4" fmla="*/ 0 h 1555750"/>
                        <a:gd name="connsiteX5" fmla="*/ 2444750 w 2597150"/>
                        <a:gd name="connsiteY5" fmla="*/ 76200 h 1555750"/>
                        <a:gd name="connsiteX0" fmla="*/ 0 w 2597150"/>
                        <a:gd name="connsiteY0" fmla="*/ 1555750 h 1555750"/>
                        <a:gd name="connsiteX1" fmla="*/ 1509184 w 2597150"/>
                        <a:gd name="connsiteY1" fmla="*/ 1538816 h 1555750"/>
                        <a:gd name="connsiteX2" fmla="*/ 1517650 w 2597150"/>
                        <a:gd name="connsiteY2" fmla="*/ 895350 h 1555750"/>
                        <a:gd name="connsiteX3" fmla="*/ 2597150 w 2597150"/>
                        <a:gd name="connsiteY3" fmla="*/ 895350 h 1555750"/>
                        <a:gd name="connsiteX4" fmla="*/ 2597150 w 2597150"/>
                        <a:gd name="connsiteY4" fmla="*/ 0 h 1555750"/>
                        <a:gd name="connsiteX5" fmla="*/ 2444750 w 2597150"/>
                        <a:gd name="connsiteY5" fmla="*/ 76200 h 1555750"/>
                        <a:gd name="connsiteX0" fmla="*/ 0 w 2597150"/>
                        <a:gd name="connsiteY0" fmla="*/ 1530350 h 1538816"/>
                        <a:gd name="connsiteX1" fmla="*/ 1509184 w 2597150"/>
                        <a:gd name="connsiteY1" fmla="*/ 1538816 h 1538816"/>
                        <a:gd name="connsiteX2" fmla="*/ 1517650 w 2597150"/>
                        <a:gd name="connsiteY2" fmla="*/ 895350 h 1538816"/>
                        <a:gd name="connsiteX3" fmla="*/ 2597150 w 2597150"/>
                        <a:gd name="connsiteY3" fmla="*/ 895350 h 1538816"/>
                        <a:gd name="connsiteX4" fmla="*/ 2597150 w 2597150"/>
                        <a:gd name="connsiteY4" fmla="*/ 0 h 1538816"/>
                        <a:gd name="connsiteX5" fmla="*/ 2444750 w 2597150"/>
                        <a:gd name="connsiteY5" fmla="*/ 76200 h 153881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597150" h="1538816">
                          <a:moveTo>
                            <a:pt x="0" y="1530350"/>
                          </a:moveTo>
                          <a:lnTo>
                            <a:pt x="1509184" y="1538816"/>
                          </a:lnTo>
                          <a:lnTo>
                            <a:pt x="1517650" y="895350"/>
                          </a:lnTo>
                          <a:lnTo>
                            <a:pt x="2597150" y="895350"/>
                          </a:lnTo>
                          <a:lnTo>
                            <a:pt x="2597150" y="0"/>
                          </a:lnTo>
                          <a:lnTo>
                            <a:pt x="2444750" y="76200"/>
                          </a:lnTo>
                        </a:path>
                      </a:pathLst>
                    </a:custGeom>
                    <a:noFill/>
                    <a:ln>
                      <a:solidFill>
                        <a:schemeClr val="tx1"/>
                      </a:solidFill>
                      <a:prstDash val="dash"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 defTabSz="1218762">
                        <a:defRPr/>
                      </a:pPr>
                      <a:endParaRPr lang="en-US" sz="2400">
                        <a:solidFill>
                          <a:srgbClr val="FFFFFF"/>
                        </a:solidFill>
                        <a:latin typeface="Segoe UI"/>
                      </a:endParaRPr>
                    </a:p>
                  </p:txBody>
                </p:sp>
              </p:grpSp>
              <p:sp>
                <p:nvSpPr>
                  <p:cNvPr id="6" name="Arrow: Left 5"/>
                  <p:cNvSpPr/>
                  <p:nvPr/>
                </p:nvSpPr>
                <p:spPr bwMode="auto">
                  <a:xfrm rot="10800000">
                    <a:off x="2630537" y="3299641"/>
                    <a:ext cx="223702" cy="142963"/>
                  </a:xfrm>
                  <a:prstGeom prst="leftArrow">
                    <a:avLst/>
                  </a:prstGeom>
                  <a:solidFill>
                    <a:schemeClr val="accent1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21886" tIns="60943" rIns="121886" bIns="60943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1242849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US" sz="3200">
                      <a:solidFill>
                        <a:srgbClr val="505050"/>
                      </a:solidFill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9" name="Flowchart: Connector 8"/>
                  <p:cNvSpPr/>
                  <p:nvPr/>
                </p:nvSpPr>
                <p:spPr bwMode="auto">
                  <a:xfrm>
                    <a:off x="2131255" y="3279218"/>
                    <a:ext cx="44113" cy="44113"/>
                  </a:xfrm>
                  <a:prstGeom prst="flowChartConnector">
                    <a:avLst/>
                  </a:prstGeom>
                  <a:solidFill>
                    <a:schemeClr val="bg1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21886" tIns="60943" rIns="121886" bIns="60943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1242849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US" sz="3200">
                      <a:solidFill>
                        <a:srgbClr val="505050"/>
                      </a:solidFill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109" name="Flowchart: Connector 108"/>
                  <p:cNvSpPr/>
                  <p:nvPr/>
                </p:nvSpPr>
                <p:spPr bwMode="auto">
                  <a:xfrm>
                    <a:off x="2208225" y="3279218"/>
                    <a:ext cx="44113" cy="44113"/>
                  </a:xfrm>
                  <a:prstGeom prst="flowChartConnector">
                    <a:avLst/>
                  </a:prstGeom>
                  <a:solidFill>
                    <a:schemeClr val="bg1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21886" tIns="60943" rIns="121886" bIns="60943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1242849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US" sz="3200">
                      <a:solidFill>
                        <a:srgbClr val="505050"/>
                      </a:solidFill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110" name="Flowchart: Connector 109"/>
                  <p:cNvSpPr/>
                  <p:nvPr/>
                </p:nvSpPr>
                <p:spPr bwMode="auto">
                  <a:xfrm>
                    <a:off x="2285196" y="3279218"/>
                    <a:ext cx="44113" cy="44113"/>
                  </a:xfrm>
                  <a:prstGeom prst="flowChartConnector">
                    <a:avLst/>
                  </a:prstGeom>
                  <a:solidFill>
                    <a:schemeClr val="bg1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21886" tIns="60943" rIns="121886" bIns="60943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1242849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US" sz="3200">
                      <a:solidFill>
                        <a:srgbClr val="505050"/>
                      </a:solidFill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116" name="Flowchart: Connector 115"/>
                  <p:cNvSpPr/>
                  <p:nvPr/>
                </p:nvSpPr>
                <p:spPr bwMode="auto">
                  <a:xfrm>
                    <a:off x="2362166" y="3279218"/>
                    <a:ext cx="44113" cy="44113"/>
                  </a:xfrm>
                  <a:prstGeom prst="flowChartConnector">
                    <a:avLst/>
                  </a:prstGeom>
                  <a:solidFill>
                    <a:schemeClr val="bg1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21886" tIns="60943" rIns="121886" bIns="60943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1242849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US" sz="3200">
                      <a:solidFill>
                        <a:srgbClr val="505050"/>
                      </a:solidFill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118" name="Flowchart: Connector 117"/>
                  <p:cNvSpPr/>
                  <p:nvPr/>
                </p:nvSpPr>
                <p:spPr bwMode="auto">
                  <a:xfrm>
                    <a:off x="2439135" y="3279218"/>
                    <a:ext cx="44113" cy="44113"/>
                  </a:xfrm>
                  <a:prstGeom prst="flowChartConnector">
                    <a:avLst/>
                  </a:prstGeom>
                  <a:solidFill>
                    <a:schemeClr val="bg1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21886" tIns="60943" rIns="121886" bIns="60943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1242849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US" sz="3200">
                      <a:solidFill>
                        <a:srgbClr val="505050"/>
                      </a:solidFill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</p:grpSp>
          <p:grpSp>
            <p:nvGrpSpPr>
              <p:cNvPr id="111" name="Group 110">
                <a:extLst>
                  <a:ext uri="{FF2B5EF4-FFF2-40B4-BE49-F238E27FC236}">
                    <a16:creationId xmlns:a16="http://schemas.microsoft.com/office/drawing/2014/main" id="{B3D9D10B-6841-4AF6-97AA-0C6339845163}"/>
                  </a:ext>
                </a:extLst>
              </p:cNvPr>
              <p:cNvGrpSpPr/>
              <p:nvPr/>
            </p:nvGrpSpPr>
            <p:grpSpPr>
              <a:xfrm>
                <a:off x="2905765" y="2111940"/>
                <a:ext cx="348356" cy="973067"/>
                <a:chOff x="8754592" y="700282"/>
                <a:chExt cx="151053" cy="421938"/>
              </a:xfrm>
              <a:solidFill>
                <a:schemeClr val="accent3"/>
              </a:solidFill>
            </p:grpSpPr>
            <p:sp>
              <p:nvSpPr>
                <p:cNvPr id="112" name="Freeform 745">
                  <a:extLst>
                    <a:ext uri="{FF2B5EF4-FFF2-40B4-BE49-F238E27FC236}">
                      <a16:creationId xmlns:a16="http://schemas.microsoft.com/office/drawing/2014/main" id="{72039810-E5C3-4646-B27C-4D505D347F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54592" y="815049"/>
                  <a:ext cx="151053" cy="307171"/>
                </a:xfrm>
                <a:custGeom>
                  <a:avLst/>
                  <a:gdLst>
                    <a:gd name="T0" fmla="*/ 62 w 76"/>
                    <a:gd name="T1" fmla="*/ 0 h 154"/>
                    <a:gd name="T2" fmla="*/ 14 w 76"/>
                    <a:gd name="T3" fmla="*/ 0 h 154"/>
                    <a:gd name="T4" fmla="*/ 0 w 76"/>
                    <a:gd name="T5" fmla="*/ 14 h 154"/>
                    <a:gd name="T6" fmla="*/ 0 w 76"/>
                    <a:gd name="T7" fmla="*/ 79 h 154"/>
                    <a:gd name="T8" fmla="*/ 14 w 76"/>
                    <a:gd name="T9" fmla="*/ 93 h 154"/>
                    <a:gd name="T10" fmla="*/ 14 w 76"/>
                    <a:gd name="T11" fmla="*/ 93 h 154"/>
                    <a:gd name="T12" fmla="*/ 14 w 76"/>
                    <a:gd name="T13" fmla="*/ 140 h 154"/>
                    <a:gd name="T14" fmla="*/ 28 w 76"/>
                    <a:gd name="T15" fmla="*/ 154 h 154"/>
                    <a:gd name="T16" fmla="*/ 49 w 76"/>
                    <a:gd name="T17" fmla="*/ 154 h 154"/>
                    <a:gd name="T18" fmla="*/ 62 w 76"/>
                    <a:gd name="T19" fmla="*/ 140 h 154"/>
                    <a:gd name="T20" fmla="*/ 62 w 76"/>
                    <a:gd name="T21" fmla="*/ 93 h 154"/>
                    <a:gd name="T22" fmla="*/ 62 w 76"/>
                    <a:gd name="T23" fmla="*/ 93 h 154"/>
                    <a:gd name="T24" fmla="*/ 76 w 76"/>
                    <a:gd name="T25" fmla="*/ 79 h 154"/>
                    <a:gd name="T26" fmla="*/ 76 w 76"/>
                    <a:gd name="T27" fmla="*/ 14 h 154"/>
                    <a:gd name="T28" fmla="*/ 62 w 76"/>
                    <a:gd name="T29" fmla="*/ 0 h 1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6" h="154">
                      <a:moveTo>
                        <a:pt x="62" y="0"/>
                      </a:move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6" y="0"/>
                        <a:pt x="0" y="6"/>
                        <a:pt x="0" y="14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87"/>
                        <a:pt x="6" y="93"/>
                        <a:pt x="14" y="93"/>
                      </a:cubicBezTo>
                      <a:cubicBezTo>
                        <a:pt x="14" y="93"/>
                        <a:pt x="14" y="93"/>
                        <a:pt x="14" y="93"/>
                      </a:cubicBezTo>
                      <a:cubicBezTo>
                        <a:pt x="14" y="140"/>
                        <a:pt x="14" y="140"/>
                        <a:pt x="14" y="140"/>
                      </a:cubicBezTo>
                      <a:cubicBezTo>
                        <a:pt x="14" y="148"/>
                        <a:pt x="20" y="154"/>
                        <a:pt x="28" y="154"/>
                      </a:cubicBezTo>
                      <a:cubicBezTo>
                        <a:pt x="49" y="154"/>
                        <a:pt x="49" y="154"/>
                        <a:pt x="49" y="154"/>
                      </a:cubicBezTo>
                      <a:cubicBezTo>
                        <a:pt x="56" y="154"/>
                        <a:pt x="62" y="148"/>
                        <a:pt x="62" y="140"/>
                      </a:cubicBezTo>
                      <a:cubicBezTo>
                        <a:pt x="62" y="93"/>
                        <a:pt x="62" y="93"/>
                        <a:pt x="62" y="93"/>
                      </a:cubicBezTo>
                      <a:cubicBezTo>
                        <a:pt x="62" y="93"/>
                        <a:pt x="62" y="93"/>
                        <a:pt x="62" y="93"/>
                      </a:cubicBezTo>
                      <a:cubicBezTo>
                        <a:pt x="70" y="93"/>
                        <a:pt x="76" y="87"/>
                        <a:pt x="76" y="79"/>
                      </a:cubicBezTo>
                      <a:cubicBezTo>
                        <a:pt x="76" y="14"/>
                        <a:pt x="76" y="14"/>
                        <a:pt x="76" y="14"/>
                      </a:cubicBezTo>
                      <a:cubicBezTo>
                        <a:pt x="76" y="6"/>
                        <a:pt x="70" y="0"/>
                        <a:pt x="62" y="0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>
                    <a:solidFill>
                      <a:srgbClr val="3F3F3F"/>
                    </a:solidFill>
                    <a:latin typeface="Segoe UI"/>
                  </a:endParaRPr>
                </a:p>
              </p:txBody>
            </p:sp>
            <p:sp>
              <p:nvSpPr>
                <p:cNvPr id="113" name="Oval 746">
                  <a:extLst>
                    <a:ext uri="{FF2B5EF4-FFF2-40B4-BE49-F238E27FC236}">
                      <a16:creationId xmlns:a16="http://schemas.microsoft.com/office/drawing/2014/main" id="{24C1896E-9891-48C5-9C73-1116B9F9EC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784128" y="700282"/>
                  <a:ext cx="91982" cy="91138"/>
                </a:xfrm>
                <a:prstGeom prst="ellipse">
                  <a:avLst/>
                </a:prstGeom>
                <a:solidFill>
                  <a:schemeClr val="accent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>
                    <a:solidFill>
                      <a:srgbClr val="3F3F3F"/>
                    </a:solidFill>
                    <a:latin typeface="Segoe UI"/>
                  </a:endParaRPr>
                </a:p>
              </p:txBody>
            </p:sp>
          </p:grpSp>
        </p:grpSp>
        <p:pic>
          <p:nvPicPr>
            <p:cNvPr id="137" name="Picture 136">
              <a:extLst>
                <a:ext uri="{FF2B5EF4-FFF2-40B4-BE49-F238E27FC236}">
                  <a16:creationId xmlns:a16="http://schemas.microsoft.com/office/drawing/2014/main" id="{9C39CD7E-7A6A-44BD-A889-AF223305F97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14962" y="1248859"/>
              <a:ext cx="519857" cy="519857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C3DB683A-B8D9-4244-845C-1C46D88DF3A6}"/>
              </a:ext>
            </a:extLst>
          </p:cNvPr>
          <p:cNvGrpSpPr/>
          <p:nvPr/>
        </p:nvGrpSpPr>
        <p:grpSpPr>
          <a:xfrm>
            <a:off x="455175" y="1296065"/>
            <a:ext cx="2218314" cy="2506958"/>
            <a:chOff x="454375" y="1295762"/>
            <a:chExt cx="2218629" cy="2507314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06D175FB-DAA9-418F-8678-627B7D775CDD}"/>
                </a:ext>
              </a:extLst>
            </p:cNvPr>
            <p:cNvGrpSpPr/>
            <p:nvPr/>
          </p:nvGrpSpPr>
          <p:grpSpPr>
            <a:xfrm>
              <a:off x="454375" y="1295762"/>
              <a:ext cx="2218629" cy="2507314"/>
              <a:chOff x="454375" y="1295762"/>
              <a:chExt cx="2218629" cy="2507314"/>
            </a:xfrm>
          </p:grpSpPr>
          <p:sp>
            <p:nvSpPr>
              <p:cNvPr id="88" name="Freeform 78"/>
              <p:cNvSpPr/>
              <p:nvPr/>
            </p:nvSpPr>
            <p:spPr bwMode="auto">
              <a:xfrm>
                <a:off x="454375" y="1295762"/>
                <a:ext cx="2218629" cy="432692"/>
              </a:xfrm>
              <a:prstGeom prst="rect">
                <a:avLst/>
              </a:prstGeom>
              <a:solidFill>
                <a:srgbClr val="0078D7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46263" tIns="91414" rIns="146263" bIns="9141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50685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866" kern="0" dirty="0">
                    <a:solidFill>
                      <a:srgbClr val="FFFFFF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Vision</a:t>
                </a:r>
              </a:p>
            </p:txBody>
          </p:sp>
          <p:sp>
            <p:nvSpPr>
              <p:cNvPr id="79" name="Oval Callout 6"/>
              <p:cNvSpPr/>
              <p:nvPr/>
            </p:nvSpPr>
            <p:spPr bwMode="auto">
              <a:xfrm>
                <a:off x="1281283" y="1915078"/>
                <a:ext cx="1195365" cy="761180"/>
              </a:xfrm>
              <a:prstGeom prst="wedgeRectCallout">
                <a:avLst>
                  <a:gd name="adj1" fmla="val -60408"/>
                  <a:gd name="adj2" fmla="val -8409"/>
                </a:avLst>
              </a:prstGeom>
              <a:solidFill>
                <a:srgbClr val="FFFFFF"/>
              </a:solidFill>
              <a:ln w="9525" cap="flat" cmpd="sng" algn="ctr">
                <a:solidFill>
                  <a:schemeClr val="bg1">
                    <a:lumMod val="75000"/>
                  </a:schemeClr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91427" tIns="91427" rIns="91427" bIns="91427" rtlCol="0" anchor="t" anchorCtr="0"/>
              <a:lstStyle/>
              <a:p>
                <a:pPr defTabSz="895537">
                  <a:lnSpc>
                    <a:spcPct val="90000"/>
                  </a:lnSpc>
                  <a:defRPr/>
                </a:pPr>
                <a:r>
                  <a:rPr lang="en-US" sz="1100" kern="0" dirty="0">
                    <a:gradFill>
                      <a:gsLst>
                        <a:gs pos="84000">
                          <a:srgbClr val="3F3F3F"/>
                        </a:gs>
                        <a:gs pos="43000">
                          <a:srgbClr val="3F3F3F"/>
                        </a:gs>
                      </a:gsLst>
                      <a:lin ang="108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rPr>
                  <a:t>What is in the image?</a:t>
                </a:r>
              </a:p>
            </p:txBody>
          </p:sp>
          <p:sp>
            <p:nvSpPr>
              <p:cNvPr id="80" name="Pentagon 79"/>
              <p:cNvSpPr/>
              <p:nvPr/>
            </p:nvSpPr>
            <p:spPr bwMode="auto">
              <a:xfrm rot="5400000">
                <a:off x="1287563" y="2417635"/>
                <a:ext cx="552253" cy="2218629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vert270" wrap="square" lIns="175711" tIns="140570" rIns="175711" bIns="14057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89577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400" kern="0" dirty="0">
                    <a:gradFill>
                      <a:gsLst>
                        <a:gs pos="1333">
                          <a:prstClr val="white"/>
                        </a:gs>
                        <a:gs pos="13000">
                          <a:prstClr val="white"/>
                        </a:gs>
                      </a:gsLst>
                      <a:lin ang="108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rPr>
                  <a:t>Computer Vision</a:t>
                </a:r>
              </a:p>
            </p:txBody>
          </p: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68AD1D11-6D02-4952-9FE8-05BA1F2F16A7}"/>
                  </a:ext>
                </a:extLst>
              </p:cNvPr>
              <p:cNvGrpSpPr/>
              <p:nvPr/>
            </p:nvGrpSpPr>
            <p:grpSpPr>
              <a:xfrm>
                <a:off x="622107" y="2111940"/>
                <a:ext cx="348356" cy="973067"/>
                <a:chOff x="622107" y="2111940"/>
                <a:chExt cx="348356" cy="973067"/>
              </a:xfrm>
            </p:grpSpPr>
            <p:sp>
              <p:nvSpPr>
                <p:cNvPr id="93" name="Freeform 745">
                  <a:extLst>
                    <a:ext uri="{FF2B5EF4-FFF2-40B4-BE49-F238E27FC236}">
                      <a16:creationId xmlns:a16="http://schemas.microsoft.com/office/drawing/2014/main" id="{9C2C50F5-0055-4274-9560-0F0702D483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2107" y="2376614"/>
                  <a:ext cx="348356" cy="708393"/>
                </a:xfrm>
                <a:custGeom>
                  <a:avLst/>
                  <a:gdLst>
                    <a:gd name="T0" fmla="*/ 62 w 76"/>
                    <a:gd name="T1" fmla="*/ 0 h 154"/>
                    <a:gd name="T2" fmla="*/ 14 w 76"/>
                    <a:gd name="T3" fmla="*/ 0 h 154"/>
                    <a:gd name="T4" fmla="*/ 0 w 76"/>
                    <a:gd name="T5" fmla="*/ 14 h 154"/>
                    <a:gd name="T6" fmla="*/ 0 w 76"/>
                    <a:gd name="T7" fmla="*/ 79 h 154"/>
                    <a:gd name="T8" fmla="*/ 14 w 76"/>
                    <a:gd name="T9" fmla="*/ 93 h 154"/>
                    <a:gd name="T10" fmla="*/ 14 w 76"/>
                    <a:gd name="T11" fmla="*/ 93 h 154"/>
                    <a:gd name="T12" fmla="*/ 14 w 76"/>
                    <a:gd name="T13" fmla="*/ 140 h 154"/>
                    <a:gd name="T14" fmla="*/ 28 w 76"/>
                    <a:gd name="T15" fmla="*/ 154 h 154"/>
                    <a:gd name="T16" fmla="*/ 49 w 76"/>
                    <a:gd name="T17" fmla="*/ 154 h 154"/>
                    <a:gd name="T18" fmla="*/ 62 w 76"/>
                    <a:gd name="T19" fmla="*/ 140 h 154"/>
                    <a:gd name="T20" fmla="*/ 62 w 76"/>
                    <a:gd name="T21" fmla="*/ 93 h 154"/>
                    <a:gd name="T22" fmla="*/ 62 w 76"/>
                    <a:gd name="T23" fmla="*/ 93 h 154"/>
                    <a:gd name="T24" fmla="*/ 76 w 76"/>
                    <a:gd name="T25" fmla="*/ 79 h 154"/>
                    <a:gd name="T26" fmla="*/ 76 w 76"/>
                    <a:gd name="T27" fmla="*/ 14 h 154"/>
                    <a:gd name="T28" fmla="*/ 62 w 76"/>
                    <a:gd name="T29" fmla="*/ 0 h 1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6" h="154">
                      <a:moveTo>
                        <a:pt x="62" y="0"/>
                      </a:move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6" y="0"/>
                        <a:pt x="0" y="6"/>
                        <a:pt x="0" y="14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87"/>
                        <a:pt x="6" y="93"/>
                        <a:pt x="14" y="93"/>
                      </a:cubicBezTo>
                      <a:cubicBezTo>
                        <a:pt x="14" y="93"/>
                        <a:pt x="14" y="93"/>
                        <a:pt x="14" y="93"/>
                      </a:cubicBezTo>
                      <a:cubicBezTo>
                        <a:pt x="14" y="140"/>
                        <a:pt x="14" y="140"/>
                        <a:pt x="14" y="140"/>
                      </a:cubicBezTo>
                      <a:cubicBezTo>
                        <a:pt x="14" y="148"/>
                        <a:pt x="20" y="154"/>
                        <a:pt x="28" y="154"/>
                      </a:cubicBezTo>
                      <a:cubicBezTo>
                        <a:pt x="49" y="154"/>
                        <a:pt x="49" y="154"/>
                        <a:pt x="49" y="154"/>
                      </a:cubicBezTo>
                      <a:cubicBezTo>
                        <a:pt x="56" y="154"/>
                        <a:pt x="62" y="148"/>
                        <a:pt x="62" y="140"/>
                      </a:cubicBezTo>
                      <a:cubicBezTo>
                        <a:pt x="62" y="93"/>
                        <a:pt x="62" y="93"/>
                        <a:pt x="62" y="93"/>
                      </a:cubicBezTo>
                      <a:cubicBezTo>
                        <a:pt x="62" y="93"/>
                        <a:pt x="62" y="93"/>
                        <a:pt x="62" y="93"/>
                      </a:cubicBezTo>
                      <a:cubicBezTo>
                        <a:pt x="70" y="93"/>
                        <a:pt x="76" y="87"/>
                        <a:pt x="76" y="79"/>
                      </a:cubicBezTo>
                      <a:cubicBezTo>
                        <a:pt x="76" y="14"/>
                        <a:pt x="76" y="14"/>
                        <a:pt x="76" y="14"/>
                      </a:cubicBezTo>
                      <a:cubicBezTo>
                        <a:pt x="76" y="6"/>
                        <a:pt x="70" y="0"/>
                        <a:pt x="62" y="0"/>
                      </a:cubicBez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>
                    <a:solidFill>
                      <a:srgbClr val="3F3F3F"/>
                    </a:solidFill>
                    <a:latin typeface="Segoe UI"/>
                  </a:endParaRPr>
                </a:p>
              </p:txBody>
            </p:sp>
            <p:sp>
              <p:nvSpPr>
                <p:cNvPr id="96" name="Oval 746">
                  <a:extLst>
                    <a:ext uri="{FF2B5EF4-FFF2-40B4-BE49-F238E27FC236}">
                      <a16:creationId xmlns:a16="http://schemas.microsoft.com/office/drawing/2014/main" id="{3629AE0A-A79B-490B-A7F1-CF62832C354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90222" y="2111940"/>
                  <a:ext cx="212127" cy="210181"/>
                </a:xfrm>
                <a:prstGeom prst="ellipse">
                  <a:avLst/>
                </a:prstGeom>
                <a:solidFill>
                  <a:schemeClr val="accent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>
                    <a:solidFill>
                      <a:srgbClr val="3F3F3F"/>
                    </a:solidFill>
                    <a:latin typeface="Segoe UI"/>
                  </a:endParaRPr>
                </a:p>
              </p:txBody>
            </p:sp>
          </p:grpSp>
        </p:grpSp>
        <p:pic>
          <p:nvPicPr>
            <p:cNvPr id="136" name="Picture 135">
              <a:extLst>
                <a:ext uri="{FF2B5EF4-FFF2-40B4-BE49-F238E27FC236}">
                  <a16:creationId xmlns:a16="http://schemas.microsoft.com/office/drawing/2014/main" id="{572C6FFC-E1AF-4173-96DF-33A4A880140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email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123297" y="1316928"/>
              <a:ext cx="530014" cy="457062"/>
            </a:xfrm>
            <a:prstGeom prst="rect">
              <a:avLst/>
            </a:prstGeom>
          </p:spPr>
        </p:pic>
      </p:grpSp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289" y="301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81" imgH="381" progId="TCLayout.ActiveDocument.1">
                  <p:embed/>
                </p:oleObj>
              </mc:Choice>
              <mc:Fallback>
                <p:oleObj name="think-cell Slide" r:id="rId12" imgW="381" imgH="381" progId="TCLayout.ActiveDocument.1">
                  <p:embed/>
                  <p:pic>
                    <p:nvPicPr>
                      <p:cNvPr id="3" name="Object 2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3289" y="301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variety of real-world applications</a:t>
            </a:r>
          </a:p>
        </p:txBody>
      </p:sp>
      <p:graphicFrame>
        <p:nvGraphicFramePr>
          <p:cNvPr id="75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1120272"/>
              </p:ext>
            </p:extLst>
          </p:nvPr>
        </p:nvGraphicFramePr>
        <p:xfrm>
          <a:off x="494787" y="5194370"/>
          <a:ext cx="2139088" cy="970590"/>
        </p:xfrm>
        <a:graphic>
          <a:graphicData uri="http://schemas.openxmlformats.org/drawingml/2006/table">
            <a:tbl>
              <a:tblPr firstRow="1" bandRow="1"/>
              <a:tblGrid>
                <a:gridCol w="11112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278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31993"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>
                          <a:solidFill>
                            <a:schemeClr val="bg1"/>
                          </a:solidFill>
                          <a:latin typeface="+mn-lt"/>
                          <a:cs typeface="Segoe UI" panose="020B0502040204020203" pitchFamily="34" charset="0"/>
                        </a:rPr>
                        <a:t>Category</a:t>
                      </a: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 dirty="0">
                          <a:solidFill>
                            <a:schemeClr val="bg1"/>
                          </a:solidFill>
                          <a:latin typeface="+mn-lt"/>
                          <a:cs typeface="Segoe UI" panose="020B0502040204020203" pitchFamily="34" charset="0"/>
                        </a:rPr>
                        <a:t>People; 5</a:t>
                      </a:r>
                      <a:r>
                        <a:rPr lang="en-US" sz="1100" baseline="0" dirty="0">
                          <a:solidFill>
                            <a:schemeClr val="bg1"/>
                          </a:solidFill>
                          <a:latin typeface="+mn-lt"/>
                          <a:cs typeface="Segoe UI" panose="020B0502040204020203" pitchFamily="34" charset="0"/>
                        </a:rPr>
                        <a:t> faces</a:t>
                      </a:r>
                      <a:endParaRPr lang="en-US" sz="1100" dirty="0">
                        <a:solidFill>
                          <a:schemeClr val="bg1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1993"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>
                          <a:solidFill>
                            <a:schemeClr val="bg1"/>
                          </a:solidFill>
                          <a:latin typeface="+mn-lt"/>
                          <a:cs typeface="Segoe UI" panose="020B0502040204020203" pitchFamily="34" charset="0"/>
                        </a:rPr>
                        <a:t>Adult/</a:t>
                      </a:r>
                      <a:r>
                        <a:rPr lang="en-US" sz="1100" baseline="0">
                          <a:solidFill>
                            <a:schemeClr val="bg1"/>
                          </a:solidFill>
                          <a:latin typeface="+mn-lt"/>
                          <a:cs typeface="Segoe UI" panose="020B0502040204020203" pitchFamily="34" charset="0"/>
                        </a:rPr>
                        <a:t>R</a:t>
                      </a:r>
                      <a:r>
                        <a:rPr lang="en-US" sz="1100">
                          <a:solidFill>
                            <a:schemeClr val="bg1"/>
                          </a:solidFill>
                          <a:latin typeface="+mn-lt"/>
                          <a:cs typeface="Segoe UI" panose="020B0502040204020203" pitchFamily="34" charset="0"/>
                        </a:rPr>
                        <a:t>acy?</a:t>
                      </a: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>
                          <a:solidFill>
                            <a:schemeClr val="bg1"/>
                          </a:solidFill>
                          <a:latin typeface="+mn-lt"/>
                          <a:cs typeface="Segoe UI" panose="020B0502040204020203" pitchFamily="34" charset="0"/>
                        </a:rPr>
                        <a:t>False</a:t>
                      </a:r>
                      <a:r>
                        <a:rPr lang="en-US" sz="1100" baseline="0">
                          <a:solidFill>
                            <a:schemeClr val="bg1"/>
                          </a:solidFill>
                          <a:latin typeface="+mn-lt"/>
                          <a:cs typeface="Segoe UI" panose="020B0502040204020203" pitchFamily="34" charset="0"/>
                        </a:rPr>
                        <a:t>/False</a:t>
                      </a:r>
                      <a:endParaRPr lang="en-US" sz="1100">
                        <a:solidFill>
                          <a:schemeClr val="bg1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611"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 dirty="0">
                          <a:solidFill>
                            <a:schemeClr val="bg1"/>
                          </a:solidFill>
                          <a:latin typeface="+mn-lt"/>
                          <a:cs typeface="Segoe UI" panose="020B0502040204020203" pitchFamily="34" charset="0"/>
                        </a:rPr>
                        <a:t>Dominant</a:t>
                      </a:r>
                      <a:r>
                        <a:rPr lang="en-US" sz="1100" baseline="0" dirty="0">
                          <a:solidFill>
                            <a:schemeClr val="bg1"/>
                          </a:solidFill>
                          <a:latin typeface="+mn-lt"/>
                          <a:cs typeface="Segoe UI" panose="020B0502040204020203" pitchFamily="34" charset="0"/>
                        </a:rPr>
                        <a:t> c</a:t>
                      </a:r>
                      <a:r>
                        <a:rPr lang="en-US" sz="1100" dirty="0">
                          <a:solidFill>
                            <a:schemeClr val="bg1"/>
                          </a:solidFill>
                          <a:latin typeface="+mn-lt"/>
                          <a:cs typeface="Segoe UI" panose="020B0502040204020203" pitchFamily="34" charset="0"/>
                        </a:rPr>
                        <a:t>olors</a:t>
                      </a: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endParaRPr lang="en-US" sz="1100" dirty="0">
                        <a:solidFill>
                          <a:schemeClr val="bg1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1993"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>
                          <a:solidFill>
                            <a:schemeClr val="bg1"/>
                          </a:solidFill>
                          <a:latin typeface="+mn-lt"/>
                          <a:cs typeface="Segoe UI" panose="020B0502040204020203" pitchFamily="34" charset="0"/>
                        </a:rPr>
                        <a:t>Accent color</a:t>
                      </a: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endParaRPr lang="en-US" sz="1100" dirty="0">
                        <a:solidFill>
                          <a:schemeClr val="bg1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pSp>
        <p:nvGrpSpPr>
          <p:cNvPr id="28" name="Group 27">
            <a:extLst>
              <a:ext uri="{FF2B5EF4-FFF2-40B4-BE49-F238E27FC236}">
                <a16:creationId xmlns:a16="http://schemas.microsoft.com/office/drawing/2014/main" id="{E813D4AA-2BC1-470E-B476-E0BA1692B088}"/>
              </a:ext>
            </a:extLst>
          </p:cNvPr>
          <p:cNvGrpSpPr/>
          <p:nvPr/>
        </p:nvGrpSpPr>
        <p:grpSpPr>
          <a:xfrm>
            <a:off x="1665101" y="5717469"/>
            <a:ext cx="440259" cy="105844"/>
            <a:chOff x="1664472" y="5717791"/>
            <a:chExt cx="440321" cy="105859"/>
          </a:xfrm>
        </p:grpSpPr>
        <p:sp>
          <p:nvSpPr>
            <p:cNvPr id="17" name="Rectangle 16"/>
            <p:cNvSpPr/>
            <p:nvPr/>
          </p:nvSpPr>
          <p:spPr bwMode="auto">
            <a:xfrm>
              <a:off x="1664472" y="5717791"/>
              <a:ext cx="108815" cy="105859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80808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3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505050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1" name="Rectangle 80"/>
            <p:cNvSpPr/>
            <p:nvPr/>
          </p:nvSpPr>
          <p:spPr bwMode="auto">
            <a:xfrm>
              <a:off x="1830226" y="5717791"/>
              <a:ext cx="108815" cy="105859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rgbClr val="080808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3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505050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1" name="Rectangle 90"/>
            <p:cNvSpPr/>
            <p:nvPr/>
          </p:nvSpPr>
          <p:spPr bwMode="auto">
            <a:xfrm>
              <a:off x="1995978" y="5717791"/>
              <a:ext cx="108815" cy="105859"/>
            </a:xfrm>
            <a:prstGeom prst="rect">
              <a:avLst/>
            </a:prstGeom>
            <a:solidFill>
              <a:schemeClr val="bg2">
                <a:lumMod val="25000"/>
              </a:schemeClr>
            </a:solidFill>
            <a:ln>
              <a:solidFill>
                <a:srgbClr val="080808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3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505050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3425" y="3855131"/>
            <a:ext cx="2121816" cy="1239771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530FE02-09A0-459D-97EE-55148C02761C}"/>
              </a:ext>
            </a:extLst>
          </p:cNvPr>
          <p:cNvSpPr/>
          <p:nvPr/>
        </p:nvSpPr>
        <p:spPr bwMode="auto">
          <a:xfrm>
            <a:off x="1668648" y="5990365"/>
            <a:ext cx="108800" cy="105844"/>
          </a:xfrm>
          <a:prstGeom prst="rect">
            <a:avLst/>
          </a:prstGeom>
          <a:solidFill>
            <a:schemeClr val="bg1"/>
          </a:solidFill>
          <a:ln>
            <a:solidFill>
              <a:srgbClr val="080808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3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kern="0">
              <a:solidFill>
                <a:srgbClr val="505050"/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4477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4.81481E-6 L 2.70833E-6 0.03171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7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4.81481E-6 L 4.79167E-6 0.03171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7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4.81481E-6 L 4.79167E-6 0.03171 " pathEditMode="relative" rAng="0" ptsTypes="AA">
                                      <p:cBhvr>
                                        <p:cTn id="19" dur="5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7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7.40741E-7 L 4.79167E-6 0.03171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7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4.81481E-6 L 4.79167E-6 0.03171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7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indefinite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7" dur="indefinite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indefinite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0" dur="indefinite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indefinite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3" dur="indefinite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indefinite"/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6" dur="indefinite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indefinite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9" dur="indefinite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4.81481E-6 L 4.79167E-6 0.03171 " pathEditMode="relative" rAng="0" ptsTypes="AA">
                                      <p:cBhvr>
                                        <p:cTn id="56" dur="500" spd="-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74"/>
                                    </p:animMotion>
                                  </p:childTnLst>
                                </p:cTn>
                              </p:par>
                              <p:par>
                                <p:cTn id="5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59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4.81481E-6 L 4.79167E-6 0.03171 " pathEditMode="relative" rAng="0" ptsTypes="AA">
                                      <p:cBhvr>
                                        <p:cTn id="66" dur="500" spd="-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74"/>
                                    </p:animMotion>
                                  </p:childTnLst>
                                </p:cTn>
                              </p:par>
                              <p:par>
                                <p:cTn id="6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indefinite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69" dur="indefinite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4.81481E-6 L 4.79167E-6 0.03171 " pathEditMode="relative" rAng="0" ptsTypes="AA">
                                      <p:cBhvr>
                                        <p:cTn id="76" dur="500" spd="-100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74"/>
                                    </p:animMotion>
                                  </p:childTnLst>
                                </p:cTn>
                              </p:par>
                              <p:par>
                                <p:cTn id="7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indefinite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79" dur="indefinite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2" grpId="1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ED99FF-F113-417D-942B-93259629F8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lligent Kiosk</a:t>
            </a:r>
            <a:endParaRPr lang="en-NL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9E44565-BF13-45D5-A398-8100E80A4001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 anchor="b"/>
          <a:lstStyle/>
          <a:p>
            <a:pPr lvl="0"/>
            <a:endParaRPr lang="nl-NL" dirty="0">
              <a:hlinkClick r:id="rId3"/>
            </a:endParaRPr>
          </a:p>
          <a:p>
            <a:pPr lvl="0" algn="ctr"/>
            <a:r>
              <a:rPr lang="nl-NL" dirty="0">
                <a:hlinkClick r:id="rId3"/>
              </a:rPr>
              <a:t>http://bit.ly/intelligent-kiosk</a:t>
            </a:r>
            <a:endParaRPr lang="en-NL" dirty="0"/>
          </a:p>
        </p:txBody>
      </p:sp>
      <p:pic>
        <p:nvPicPr>
          <p:cNvPr id="7" name="Picture 4" descr="Update: Despliegue de Intelligent Kiosk 💡🔁 | by Lennin Cenas ...">
            <a:extLst>
              <a:ext uri="{FF2B5EF4-FFF2-40B4-BE49-F238E27FC236}">
                <a16:creationId xmlns:a16="http://schemas.microsoft.com/office/drawing/2014/main" id="{AAD9C1F4-299D-4168-A770-0E145F94028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4" t="1121"/>
          <a:stretch/>
        </p:blipFill>
        <p:spPr bwMode="auto">
          <a:xfrm>
            <a:off x="2333575" y="942974"/>
            <a:ext cx="7524851" cy="4556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637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079530C-1F73-4B83-8878-CB069422A3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Cognitive Services</a:t>
            </a:r>
            <a:endParaRPr lang="en-NL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22FF8721-4A42-41AF-85DE-E1DB0071CCF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5183188" y="1639075"/>
            <a:ext cx="6172200" cy="3570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615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A2D8A6-74B4-4762-931F-2F419B3AF3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	Cognitive Services</a:t>
            </a:r>
            <a:endParaRPr lang="en-NL" dirty="0"/>
          </a:p>
        </p:txBody>
      </p:sp>
      <p:sp>
        <p:nvSpPr>
          <p:cNvPr id="5" name="Rectangle 4" descr="Decision chart">
            <a:extLst>
              <a:ext uri="{FF2B5EF4-FFF2-40B4-BE49-F238E27FC236}">
                <a16:creationId xmlns:a16="http://schemas.microsoft.com/office/drawing/2014/main" id="{B7285CF7-CB35-4F9D-94F3-78A371DD53BE}"/>
              </a:ext>
            </a:extLst>
          </p:cNvPr>
          <p:cNvSpPr/>
          <p:nvPr/>
        </p:nvSpPr>
        <p:spPr>
          <a:xfrm>
            <a:off x="1526881" y="2720404"/>
            <a:ext cx="810000" cy="810000"/>
          </a:xfrm>
          <a:prstGeom prst="rect">
            <a:avLst/>
          </a:prstGeo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27D5A4B7-9DB1-4CA4-8212-C7D05F476A91}"/>
              </a:ext>
            </a:extLst>
          </p:cNvPr>
          <p:cNvSpPr/>
          <p:nvPr/>
        </p:nvSpPr>
        <p:spPr>
          <a:xfrm>
            <a:off x="1031881" y="3835108"/>
            <a:ext cx="1800000" cy="720000"/>
          </a:xfrm>
          <a:custGeom>
            <a:avLst/>
            <a:gdLst>
              <a:gd name="connsiteX0" fmla="*/ 0 w 1800000"/>
              <a:gd name="connsiteY0" fmla="*/ 0 h 720000"/>
              <a:gd name="connsiteX1" fmla="*/ 1800000 w 1800000"/>
              <a:gd name="connsiteY1" fmla="*/ 0 h 720000"/>
              <a:gd name="connsiteX2" fmla="*/ 1800000 w 1800000"/>
              <a:gd name="connsiteY2" fmla="*/ 720000 h 720000"/>
              <a:gd name="connsiteX3" fmla="*/ 0 w 1800000"/>
              <a:gd name="connsiteY3" fmla="*/ 720000 h 720000"/>
              <a:gd name="connsiteX4" fmla="*/ 0 w 1800000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720000">
                <a:moveTo>
                  <a:pt x="0" y="0"/>
                </a:moveTo>
                <a:lnTo>
                  <a:pt x="1800000" y="0"/>
                </a:lnTo>
                <a:lnTo>
                  <a:pt x="1800000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400" kern="1200" dirty="0">
                <a:solidFill>
                  <a:schemeClr val="bg1"/>
                </a:solidFill>
              </a:rPr>
              <a:t>Decision</a:t>
            </a:r>
          </a:p>
        </p:txBody>
      </p:sp>
      <p:sp>
        <p:nvSpPr>
          <p:cNvPr id="7" name="Rectangle 6" descr="Speech">
            <a:extLst>
              <a:ext uri="{FF2B5EF4-FFF2-40B4-BE49-F238E27FC236}">
                <a16:creationId xmlns:a16="http://schemas.microsoft.com/office/drawing/2014/main" id="{F7B38C73-1798-453B-99DB-86C7DEEC51BA}"/>
              </a:ext>
            </a:extLst>
          </p:cNvPr>
          <p:cNvSpPr/>
          <p:nvPr/>
        </p:nvSpPr>
        <p:spPr>
          <a:xfrm>
            <a:off x="3641881" y="2720404"/>
            <a:ext cx="810000" cy="810000"/>
          </a:xfrm>
          <a:prstGeom prst="rect">
            <a:avLst/>
          </a:prstGeo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608A9B0-D88F-41B9-AA07-83498C694B86}"/>
              </a:ext>
            </a:extLst>
          </p:cNvPr>
          <p:cNvSpPr/>
          <p:nvPr/>
        </p:nvSpPr>
        <p:spPr>
          <a:xfrm>
            <a:off x="3146881" y="3835108"/>
            <a:ext cx="1800000" cy="720000"/>
          </a:xfrm>
          <a:custGeom>
            <a:avLst/>
            <a:gdLst>
              <a:gd name="connsiteX0" fmla="*/ 0 w 1800000"/>
              <a:gd name="connsiteY0" fmla="*/ 0 h 720000"/>
              <a:gd name="connsiteX1" fmla="*/ 1800000 w 1800000"/>
              <a:gd name="connsiteY1" fmla="*/ 0 h 720000"/>
              <a:gd name="connsiteX2" fmla="*/ 1800000 w 1800000"/>
              <a:gd name="connsiteY2" fmla="*/ 720000 h 720000"/>
              <a:gd name="connsiteX3" fmla="*/ 0 w 1800000"/>
              <a:gd name="connsiteY3" fmla="*/ 720000 h 720000"/>
              <a:gd name="connsiteX4" fmla="*/ 0 w 1800000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720000">
                <a:moveTo>
                  <a:pt x="0" y="0"/>
                </a:moveTo>
                <a:lnTo>
                  <a:pt x="1800000" y="0"/>
                </a:lnTo>
                <a:lnTo>
                  <a:pt x="1800000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400" kern="1200">
                <a:solidFill>
                  <a:schemeClr val="bg1"/>
                </a:solidFill>
              </a:rPr>
              <a:t>Language</a:t>
            </a:r>
          </a:p>
        </p:txBody>
      </p:sp>
      <p:sp>
        <p:nvSpPr>
          <p:cNvPr id="9" name="Rectangle 8" descr="Chat">
            <a:extLst>
              <a:ext uri="{FF2B5EF4-FFF2-40B4-BE49-F238E27FC236}">
                <a16:creationId xmlns:a16="http://schemas.microsoft.com/office/drawing/2014/main" id="{23C0FD39-4EF6-4DCC-9E9C-F586B15622F1}"/>
              </a:ext>
            </a:extLst>
          </p:cNvPr>
          <p:cNvSpPr/>
          <p:nvPr/>
        </p:nvSpPr>
        <p:spPr>
          <a:xfrm>
            <a:off x="5756881" y="2720404"/>
            <a:ext cx="810000" cy="810000"/>
          </a:xfrm>
          <a:prstGeom prst="rect">
            <a:avLst/>
          </a:prstGeom>
          <a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17944AC6-9F27-4375-A147-BA30F66F3489}"/>
              </a:ext>
            </a:extLst>
          </p:cNvPr>
          <p:cNvSpPr/>
          <p:nvPr/>
        </p:nvSpPr>
        <p:spPr>
          <a:xfrm>
            <a:off x="5261881" y="3835108"/>
            <a:ext cx="1800000" cy="720000"/>
          </a:xfrm>
          <a:custGeom>
            <a:avLst/>
            <a:gdLst>
              <a:gd name="connsiteX0" fmla="*/ 0 w 1800000"/>
              <a:gd name="connsiteY0" fmla="*/ 0 h 720000"/>
              <a:gd name="connsiteX1" fmla="*/ 1800000 w 1800000"/>
              <a:gd name="connsiteY1" fmla="*/ 0 h 720000"/>
              <a:gd name="connsiteX2" fmla="*/ 1800000 w 1800000"/>
              <a:gd name="connsiteY2" fmla="*/ 720000 h 720000"/>
              <a:gd name="connsiteX3" fmla="*/ 0 w 1800000"/>
              <a:gd name="connsiteY3" fmla="*/ 720000 h 720000"/>
              <a:gd name="connsiteX4" fmla="*/ 0 w 1800000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720000">
                <a:moveTo>
                  <a:pt x="0" y="0"/>
                </a:moveTo>
                <a:lnTo>
                  <a:pt x="1800000" y="0"/>
                </a:lnTo>
                <a:lnTo>
                  <a:pt x="1800000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400" kern="1200">
                <a:solidFill>
                  <a:schemeClr val="bg1"/>
                </a:solidFill>
              </a:rPr>
              <a:t>Speech</a:t>
            </a:r>
          </a:p>
        </p:txBody>
      </p:sp>
      <p:sp>
        <p:nvSpPr>
          <p:cNvPr id="11" name="Rectangle 10" descr="Eye">
            <a:extLst>
              <a:ext uri="{FF2B5EF4-FFF2-40B4-BE49-F238E27FC236}">
                <a16:creationId xmlns:a16="http://schemas.microsoft.com/office/drawing/2014/main" id="{7C4EED78-4911-4953-A4CF-1DC433FC5AE0}"/>
              </a:ext>
            </a:extLst>
          </p:cNvPr>
          <p:cNvSpPr/>
          <p:nvPr/>
        </p:nvSpPr>
        <p:spPr>
          <a:xfrm>
            <a:off x="7871881" y="2720404"/>
            <a:ext cx="810000" cy="810000"/>
          </a:xfrm>
          <a:prstGeom prst="rect">
            <a:avLst/>
          </a:prstGeom>
          <a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C4D2926C-9248-4CF6-AB57-83B66130C9AB}"/>
              </a:ext>
            </a:extLst>
          </p:cNvPr>
          <p:cNvSpPr/>
          <p:nvPr/>
        </p:nvSpPr>
        <p:spPr>
          <a:xfrm>
            <a:off x="7376881" y="3835108"/>
            <a:ext cx="1800000" cy="720000"/>
          </a:xfrm>
          <a:custGeom>
            <a:avLst/>
            <a:gdLst>
              <a:gd name="connsiteX0" fmla="*/ 0 w 1800000"/>
              <a:gd name="connsiteY0" fmla="*/ 0 h 720000"/>
              <a:gd name="connsiteX1" fmla="*/ 1800000 w 1800000"/>
              <a:gd name="connsiteY1" fmla="*/ 0 h 720000"/>
              <a:gd name="connsiteX2" fmla="*/ 1800000 w 1800000"/>
              <a:gd name="connsiteY2" fmla="*/ 720000 h 720000"/>
              <a:gd name="connsiteX3" fmla="*/ 0 w 1800000"/>
              <a:gd name="connsiteY3" fmla="*/ 720000 h 720000"/>
              <a:gd name="connsiteX4" fmla="*/ 0 w 1800000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720000">
                <a:moveTo>
                  <a:pt x="0" y="0"/>
                </a:moveTo>
                <a:lnTo>
                  <a:pt x="1800000" y="0"/>
                </a:lnTo>
                <a:lnTo>
                  <a:pt x="1800000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400" kern="1200">
                <a:solidFill>
                  <a:schemeClr val="bg1"/>
                </a:solidFill>
              </a:rPr>
              <a:t>Vision</a:t>
            </a:r>
          </a:p>
        </p:txBody>
      </p:sp>
      <p:sp>
        <p:nvSpPr>
          <p:cNvPr id="13" name="Rectangle 12" descr="Magnifying glass">
            <a:extLst>
              <a:ext uri="{FF2B5EF4-FFF2-40B4-BE49-F238E27FC236}">
                <a16:creationId xmlns:a16="http://schemas.microsoft.com/office/drawing/2014/main" id="{B7737F7D-BD4F-4D05-B732-B527C1B61D5C}"/>
              </a:ext>
            </a:extLst>
          </p:cNvPr>
          <p:cNvSpPr/>
          <p:nvPr/>
        </p:nvSpPr>
        <p:spPr>
          <a:xfrm>
            <a:off x="9986881" y="2720404"/>
            <a:ext cx="810000" cy="810000"/>
          </a:xfrm>
          <a:prstGeom prst="rect">
            <a:avLst/>
          </a:prstGeom>
          <a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6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9304674F-B1FC-4167-9597-AC10309489C9}"/>
              </a:ext>
            </a:extLst>
          </p:cNvPr>
          <p:cNvSpPr/>
          <p:nvPr/>
        </p:nvSpPr>
        <p:spPr>
          <a:xfrm>
            <a:off x="9491881" y="3835108"/>
            <a:ext cx="1800000" cy="720000"/>
          </a:xfrm>
          <a:custGeom>
            <a:avLst/>
            <a:gdLst>
              <a:gd name="connsiteX0" fmla="*/ 0 w 1800000"/>
              <a:gd name="connsiteY0" fmla="*/ 0 h 720000"/>
              <a:gd name="connsiteX1" fmla="*/ 1800000 w 1800000"/>
              <a:gd name="connsiteY1" fmla="*/ 0 h 720000"/>
              <a:gd name="connsiteX2" fmla="*/ 1800000 w 1800000"/>
              <a:gd name="connsiteY2" fmla="*/ 720000 h 720000"/>
              <a:gd name="connsiteX3" fmla="*/ 0 w 1800000"/>
              <a:gd name="connsiteY3" fmla="*/ 720000 h 720000"/>
              <a:gd name="connsiteX4" fmla="*/ 0 w 1800000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720000">
                <a:moveTo>
                  <a:pt x="0" y="0"/>
                </a:moveTo>
                <a:lnTo>
                  <a:pt x="1800000" y="0"/>
                </a:lnTo>
                <a:lnTo>
                  <a:pt x="1800000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400" kern="1200">
                <a:solidFill>
                  <a:schemeClr val="bg1"/>
                </a:solidFill>
              </a:rPr>
              <a:t>Web search</a:t>
            </a:r>
          </a:p>
        </p:txBody>
      </p:sp>
    </p:spTree>
    <p:extLst>
      <p:ext uri="{BB962C8B-B14F-4D97-AF65-F5344CB8AC3E}">
        <p14:creationId xmlns:p14="http://schemas.microsoft.com/office/powerpoint/2010/main" val="4091695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indefinit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1" dur="indefinite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indefinite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4" dur="indefinite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indefinite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5" dur="indefinite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indefinite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8" dur="indefinite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9" dur="indefinite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52" dur="indefinite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indefinite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63" dur="indefinite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indefinit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66" dur="indefinite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  <p:bldP spid="8" grpId="0"/>
      <p:bldP spid="8" grpId="1"/>
      <p:bldP spid="10" grpId="0"/>
      <p:bldP spid="10" grpId="1"/>
      <p:bldP spid="12" grpId="0"/>
      <p:bldP spid="12" grpId="1"/>
      <p:bldP spid="1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A2D8A6-74B4-4762-931F-2F419B3AF3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ision</a:t>
            </a:r>
            <a:endParaRPr lang="en-NL" dirty="0"/>
          </a:p>
        </p:txBody>
      </p:sp>
      <p:sp>
        <p:nvSpPr>
          <p:cNvPr id="5" name="Rectangle 4" descr="Alien Face">
            <a:extLst>
              <a:ext uri="{FF2B5EF4-FFF2-40B4-BE49-F238E27FC236}">
                <a16:creationId xmlns:a16="http://schemas.microsoft.com/office/drawing/2014/main" id="{F0E74471-BB79-419F-8D31-E538A84A890D}"/>
              </a:ext>
            </a:extLst>
          </p:cNvPr>
          <p:cNvSpPr/>
          <p:nvPr/>
        </p:nvSpPr>
        <p:spPr>
          <a:xfrm>
            <a:off x="1450239" y="2323243"/>
            <a:ext cx="1514456" cy="1514456"/>
          </a:xfrm>
          <a:prstGeom prst="rect">
            <a:avLst/>
          </a:pr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21D91233-E1B3-457F-8AE3-E5F3A70D8E01}"/>
              </a:ext>
            </a:extLst>
          </p:cNvPr>
          <p:cNvSpPr/>
          <p:nvPr/>
        </p:nvSpPr>
        <p:spPr>
          <a:xfrm>
            <a:off x="524737" y="4232269"/>
            <a:ext cx="3365458" cy="720000"/>
          </a:xfrm>
          <a:custGeom>
            <a:avLst/>
            <a:gdLst>
              <a:gd name="connsiteX0" fmla="*/ 0 w 3365458"/>
              <a:gd name="connsiteY0" fmla="*/ 0 h 720000"/>
              <a:gd name="connsiteX1" fmla="*/ 3365458 w 3365458"/>
              <a:gd name="connsiteY1" fmla="*/ 0 h 720000"/>
              <a:gd name="connsiteX2" fmla="*/ 3365458 w 3365458"/>
              <a:gd name="connsiteY2" fmla="*/ 720000 h 720000"/>
              <a:gd name="connsiteX3" fmla="*/ 0 w 3365458"/>
              <a:gd name="connsiteY3" fmla="*/ 720000 h 720000"/>
              <a:gd name="connsiteX4" fmla="*/ 0 w 3365458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5458" h="720000">
                <a:moveTo>
                  <a:pt x="0" y="0"/>
                </a:moveTo>
                <a:lnTo>
                  <a:pt x="3365458" y="0"/>
                </a:lnTo>
                <a:lnTo>
                  <a:pt x="3365458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0">
            <a:scrgbClr r="0" g="0" b="0"/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46685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nl-NL" sz="3300" kern="1200">
                <a:solidFill>
                  <a:schemeClr val="bg1"/>
                </a:solidFill>
              </a:rPr>
              <a:t>Anomaly Detector</a:t>
            </a:r>
            <a:endParaRPr lang="en-US" sz="3300" kern="1200" dirty="0">
              <a:solidFill>
                <a:schemeClr val="bg1"/>
              </a:solidFill>
            </a:endParaRPr>
          </a:p>
        </p:txBody>
      </p:sp>
      <p:sp>
        <p:nvSpPr>
          <p:cNvPr id="7" name="Rectangle 6" descr="Images">
            <a:extLst>
              <a:ext uri="{FF2B5EF4-FFF2-40B4-BE49-F238E27FC236}">
                <a16:creationId xmlns:a16="http://schemas.microsoft.com/office/drawing/2014/main" id="{47BC4DE5-0680-422E-8901-C9B2D75A4ABA}"/>
              </a:ext>
            </a:extLst>
          </p:cNvPr>
          <p:cNvSpPr/>
          <p:nvPr/>
        </p:nvSpPr>
        <p:spPr>
          <a:xfrm>
            <a:off x="5404653" y="2323243"/>
            <a:ext cx="1514456" cy="1514456"/>
          </a:xfrm>
          <a:prstGeom prst="rect">
            <a:avLst/>
          </a:pr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4900445"/>
              <a:satOff val="-20388"/>
              <a:lumOff val="4804"/>
              <a:alphaOff val="0"/>
            </a:schemeClr>
          </a:effectRef>
          <a:fontRef idx="minor">
            <a:schemeClr val="lt1"/>
          </a:fontRef>
        </p:style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A3965B1-3437-4E22-BC5B-26F04D4002D5}"/>
              </a:ext>
            </a:extLst>
          </p:cNvPr>
          <p:cNvSpPr/>
          <p:nvPr/>
        </p:nvSpPr>
        <p:spPr>
          <a:xfrm>
            <a:off x="4479152" y="4232269"/>
            <a:ext cx="3365458" cy="720000"/>
          </a:xfrm>
          <a:custGeom>
            <a:avLst/>
            <a:gdLst>
              <a:gd name="connsiteX0" fmla="*/ 0 w 3365458"/>
              <a:gd name="connsiteY0" fmla="*/ 0 h 720000"/>
              <a:gd name="connsiteX1" fmla="*/ 3365458 w 3365458"/>
              <a:gd name="connsiteY1" fmla="*/ 0 h 720000"/>
              <a:gd name="connsiteX2" fmla="*/ 3365458 w 3365458"/>
              <a:gd name="connsiteY2" fmla="*/ 720000 h 720000"/>
              <a:gd name="connsiteX3" fmla="*/ 0 w 3365458"/>
              <a:gd name="connsiteY3" fmla="*/ 720000 h 720000"/>
              <a:gd name="connsiteX4" fmla="*/ 0 w 3365458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5458" h="720000">
                <a:moveTo>
                  <a:pt x="0" y="0"/>
                </a:moveTo>
                <a:lnTo>
                  <a:pt x="3365458" y="0"/>
                </a:lnTo>
                <a:lnTo>
                  <a:pt x="3365458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0">
            <a:scrgbClr r="0" g="0" b="0"/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46685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nl-NL" sz="3300" kern="1200" dirty="0">
                <a:solidFill>
                  <a:schemeClr val="bg1"/>
                </a:solidFill>
              </a:rPr>
              <a:t>Content Moderator</a:t>
            </a:r>
          </a:p>
        </p:txBody>
      </p:sp>
      <p:sp>
        <p:nvSpPr>
          <p:cNvPr id="9" name="Rectangle 8" descr="Airplane">
            <a:extLst>
              <a:ext uri="{FF2B5EF4-FFF2-40B4-BE49-F238E27FC236}">
                <a16:creationId xmlns:a16="http://schemas.microsoft.com/office/drawing/2014/main" id="{3AB4BE37-294C-478F-9CAE-E66E321C825A}"/>
              </a:ext>
            </a:extLst>
          </p:cNvPr>
          <p:cNvSpPr/>
          <p:nvPr/>
        </p:nvSpPr>
        <p:spPr>
          <a:xfrm>
            <a:off x="9359067" y="2323243"/>
            <a:ext cx="1514456" cy="1514456"/>
          </a:xfrm>
          <a:prstGeom prst="rect">
            <a:avLst/>
          </a:pr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9800891"/>
              <a:satOff val="-40777"/>
              <a:lumOff val="9608"/>
              <a:alphaOff val="0"/>
            </a:schemeClr>
          </a:effectRef>
          <a:fontRef idx="minor">
            <a:schemeClr val="lt1"/>
          </a:fontRef>
        </p:style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293DA29-43E0-44C3-8CC8-0C9BBC65FD39}"/>
              </a:ext>
            </a:extLst>
          </p:cNvPr>
          <p:cNvSpPr/>
          <p:nvPr/>
        </p:nvSpPr>
        <p:spPr>
          <a:xfrm>
            <a:off x="8433566" y="4232269"/>
            <a:ext cx="3365458" cy="720000"/>
          </a:xfrm>
          <a:custGeom>
            <a:avLst/>
            <a:gdLst>
              <a:gd name="connsiteX0" fmla="*/ 0 w 3365458"/>
              <a:gd name="connsiteY0" fmla="*/ 0 h 720000"/>
              <a:gd name="connsiteX1" fmla="*/ 3365458 w 3365458"/>
              <a:gd name="connsiteY1" fmla="*/ 0 h 720000"/>
              <a:gd name="connsiteX2" fmla="*/ 3365458 w 3365458"/>
              <a:gd name="connsiteY2" fmla="*/ 720000 h 720000"/>
              <a:gd name="connsiteX3" fmla="*/ 0 w 3365458"/>
              <a:gd name="connsiteY3" fmla="*/ 720000 h 720000"/>
              <a:gd name="connsiteX4" fmla="*/ 0 w 3365458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5458" h="720000">
                <a:moveTo>
                  <a:pt x="0" y="0"/>
                </a:moveTo>
                <a:lnTo>
                  <a:pt x="3365458" y="0"/>
                </a:lnTo>
                <a:lnTo>
                  <a:pt x="3365458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0">
            <a:scrgbClr r="0" g="0" b="0"/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46685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nl-NL" sz="3300" kern="1200">
                <a:solidFill>
                  <a:schemeClr val="bg1"/>
                </a:solidFill>
              </a:rPr>
              <a:t>Personalizer</a:t>
            </a:r>
            <a:endParaRPr lang="en-NL" sz="3300" kern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0799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indefinit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1" dur="indefinite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indefinite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4" dur="indefinite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indefinite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5" dur="indefinite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indefinite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8" dur="indefinite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  <p:bldP spid="8" grpId="0"/>
      <p:bldP spid="8" grpId="1"/>
      <p:bldP spid="10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BBE88F-6088-419C-B905-E4EA466E93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nguage</a:t>
            </a:r>
            <a:endParaRPr lang="en-NL" dirty="0"/>
          </a:p>
        </p:txBody>
      </p:sp>
      <p:sp>
        <p:nvSpPr>
          <p:cNvPr id="8" name="Rectangle 7" descr="Books">
            <a:extLst>
              <a:ext uri="{FF2B5EF4-FFF2-40B4-BE49-F238E27FC236}">
                <a16:creationId xmlns:a16="http://schemas.microsoft.com/office/drawing/2014/main" id="{06A0BAAD-7B7C-4B27-B321-3103034C97FC}"/>
              </a:ext>
            </a:extLst>
          </p:cNvPr>
          <p:cNvSpPr/>
          <p:nvPr/>
        </p:nvSpPr>
        <p:spPr>
          <a:xfrm>
            <a:off x="1526881" y="2720404"/>
            <a:ext cx="810000" cy="810000"/>
          </a:xfrm>
          <a:prstGeom prst="rect">
            <a:avLst/>
          </a:prstGeo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07876273-333C-4D85-B4A9-E5879E0F6118}"/>
              </a:ext>
            </a:extLst>
          </p:cNvPr>
          <p:cNvSpPr/>
          <p:nvPr/>
        </p:nvSpPr>
        <p:spPr>
          <a:xfrm>
            <a:off x="1031881" y="3835108"/>
            <a:ext cx="1800000" cy="720000"/>
          </a:xfrm>
          <a:custGeom>
            <a:avLst/>
            <a:gdLst>
              <a:gd name="connsiteX0" fmla="*/ 0 w 1800000"/>
              <a:gd name="connsiteY0" fmla="*/ 0 h 720000"/>
              <a:gd name="connsiteX1" fmla="*/ 1800000 w 1800000"/>
              <a:gd name="connsiteY1" fmla="*/ 0 h 720000"/>
              <a:gd name="connsiteX2" fmla="*/ 1800000 w 1800000"/>
              <a:gd name="connsiteY2" fmla="*/ 720000 h 720000"/>
              <a:gd name="connsiteX3" fmla="*/ 0 w 1800000"/>
              <a:gd name="connsiteY3" fmla="*/ 720000 h 720000"/>
              <a:gd name="connsiteX4" fmla="*/ 0 w 1800000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720000">
                <a:moveTo>
                  <a:pt x="0" y="0"/>
                </a:moveTo>
                <a:lnTo>
                  <a:pt x="1800000" y="0"/>
                </a:lnTo>
                <a:lnTo>
                  <a:pt x="1800000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lvl="0" algn="ctr" defTabSz="711200">
              <a:spcBef>
                <a:spcPct val="0"/>
              </a:spcBef>
              <a:spcAft>
                <a:spcPct val="35000"/>
              </a:spcAft>
            </a:pPr>
            <a:r>
              <a:rPr lang="en-US" sz="1600" dirty="0">
                <a:solidFill>
                  <a:schemeClr val="bg1"/>
                </a:solidFill>
              </a:rPr>
              <a:t>Immersive reader</a:t>
            </a:r>
            <a:endParaRPr lang="en-US" sz="1600" kern="1200" dirty="0">
              <a:solidFill>
                <a:schemeClr val="bg1"/>
              </a:solidFill>
            </a:endParaRPr>
          </a:p>
        </p:txBody>
      </p:sp>
      <p:sp>
        <p:nvSpPr>
          <p:cNvPr id="10" name="Rectangle 9" descr="Chat Bubble">
            <a:extLst>
              <a:ext uri="{FF2B5EF4-FFF2-40B4-BE49-F238E27FC236}">
                <a16:creationId xmlns:a16="http://schemas.microsoft.com/office/drawing/2014/main" id="{C3B76699-A7D1-40C4-8166-46CE8E55C440}"/>
              </a:ext>
            </a:extLst>
          </p:cNvPr>
          <p:cNvSpPr/>
          <p:nvPr/>
        </p:nvSpPr>
        <p:spPr>
          <a:xfrm>
            <a:off x="3641881" y="2720404"/>
            <a:ext cx="810000" cy="810000"/>
          </a:xfrm>
          <a:prstGeom prst="rect">
            <a:avLst/>
          </a:prstGeo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363841"/>
              <a:satOff val="-20982"/>
              <a:lumOff val="2157"/>
              <a:alphaOff val="0"/>
            </a:schemeClr>
          </a:effectRef>
          <a:fontRef idx="minor">
            <a:schemeClr val="lt1"/>
          </a:fontRef>
        </p:style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B8D77249-F13F-4E24-B6C5-F0EDB3554BFF}"/>
              </a:ext>
            </a:extLst>
          </p:cNvPr>
          <p:cNvSpPr/>
          <p:nvPr/>
        </p:nvSpPr>
        <p:spPr>
          <a:xfrm>
            <a:off x="3146881" y="3835108"/>
            <a:ext cx="1800000" cy="720000"/>
          </a:xfrm>
          <a:custGeom>
            <a:avLst/>
            <a:gdLst>
              <a:gd name="connsiteX0" fmla="*/ 0 w 1800000"/>
              <a:gd name="connsiteY0" fmla="*/ 0 h 720000"/>
              <a:gd name="connsiteX1" fmla="*/ 1800000 w 1800000"/>
              <a:gd name="connsiteY1" fmla="*/ 0 h 720000"/>
              <a:gd name="connsiteX2" fmla="*/ 1800000 w 1800000"/>
              <a:gd name="connsiteY2" fmla="*/ 720000 h 720000"/>
              <a:gd name="connsiteX3" fmla="*/ 0 w 1800000"/>
              <a:gd name="connsiteY3" fmla="*/ 720000 h 720000"/>
              <a:gd name="connsiteX4" fmla="*/ 0 w 1800000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720000">
                <a:moveTo>
                  <a:pt x="0" y="0"/>
                </a:moveTo>
                <a:lnTo>
                  <a:pt x="1800000" y="0"/>
                </a:lnTo>
                <a:lnTo>
                  <a:pt x="1800000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7112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kern="1200" dirty="0">
                <a:solidFill>
                  <a:schemeClr val="bg1"/>
                </a:solidFill>
              </a:rPr>
              <a:t>Language Understanding</a:t>
            </a:r>
          </a:p>
        </p:txBody>
      </p:sp>
      <p:sp>
        <p:nvSpPr>
          <p:cNvPr id="12" name="Rectangle 11" descr="ArtificialIntelligence">
            <a:extLst>
              <a:ext uri="{FF2B5EF4-FFF2-40B4-BE49-F238E27FC236}">
                <a16:creationId xmlns:a16="http://schemas.microsoft.com/office/drawing/2014/main" id="{388E3A38-59E8-4119-A083-39D075798D06}"/>
              </a:ext>
            </a:extLst>
          </p:cNvPr>
          <p:cNvSpPr/>
          <p:nvPr/>
        </p:nvSpPr>
        <p:spPr>
          <a:xfrm>
            <a:off x="5756881" y="2720404"/>
            <a:ext cx="810000" cy="810000"/>
          </a:xfrm>
          <a:prstGeom prst="rect">
            <a:avLst/>
          </a:prstGeom>
          <a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727682"/>
              <a:satOff val="-41964"/>
              <a:lumOff val="4314"/>
              <a:alphaOff val="0"/>
            </a:schemeClr>
          </a:effectRef>
          <a:fontRef idx="minor">
            <a:schemeClr val="lt1"/>
          </a:fontRef>
        </p:style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2B558EAC-FAEB-4043-BEE2-9FF99F6823F2}"/>
              </a:ext>
            </a:extLst>
          </p:cNvPr>
          <p:cNvSpPr/>
          <p:nvPr/>
        </p:nvSpPr>
        <p:spPr>
          <a:xfrm>
            <a:off x="5261881" y="3835108"/>
            <a:ext cx="1800000" cy="720000"/>
          </a:xfrm>
          <a:custGeom>
            <a:avLst/>
            <a:gdLst>
              <a:gd name="connsiteX0" fmla="*/ 0 w 1800000"/>
              <a:gd name="connsiteY0" fmla="*/ 0 h 720000"/>
              <a:gd name="connsiteX1" fmla="*/ 1800000 w 1800000"/>
              <a:gd name="connsiteY1" fmla="*/ 0 h 720000"/>
              <a:gd name="connsiteX2" fmla="*/ 1800000 w 1800000"/>
              <a:gd name="connsiteY2" fmla="*/ 720000 h 720000"/>
              <a:gd name="connsiteX3" fmla="*/ 0 w 1800000"/>
              <a:gd name="connsiteY3" fmla="*/ 720000 h 720000"/>
              <a:gd name="connsiteX4" fmla="*/ 0 w 1800000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720000">
                <a:moveTo>
                  <a:pt x="0" y="0"/>
                </a:moveTo>
                <a:lnTo>
                  <a:pt x="1800000" y="0"/>
                </a:lnTo>
                <a:lnTo>
                  <a:pt x="1800000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7112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kern="1200">
                <a:solidFill>
                  <a:schemeClr val="bg1"/>
                </a:solidFill>
              </a:rPr>
              <a:t>QnA Maker</a:t>
            </a:r>
          </a:p>
        </p:txBody>
      </p:sp>
      <p:sp>
        <p:nvSpPr>
          <p:cNvPr id="14" name="Rectangle 13" descr="Document">
            <a:extLst>
              <a:ext uri="{FF2B5EF4-FFF2-40B4-BE49-F238E27FC236}">
                <a16:creationId xmlns:a16="http://schemas.microsoft.com/office/drawing/2014/main" id="{9BB27779-DBCF-4EF9-BAAA-4E7629E23913}"/>
              </a:ext>
            </a:extLst>
          </p:cNvPr>
          <p:cNvSpPr/>
          <p:nvPr/>
        </p:nvSpPr>
        <p:spPr>
          <a:xfrm>
            <a:off x="7871881" y="2720404"/>
            <a:ext cx="810000" cy="810000"/>
          </a:xfrm>
          <a:prstGeom prst="rect">
            <a:avLst/>
          </a:prstGeom>
          <a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1091522"/>
              <a:satOff val="-62946"/>
              <a:lumOff val="6471"/>
              <a:alphaOff val="0"/>
            </a:schemeClr>
          </a:effectRef>
          <a:fontRef idx="minor">
            <a:schemeClr val="lt1"/>
          </a:fontRef>
        </p:style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A493D6DC-4DD4-4881-A9B3-BB402A069AA2}"/>
              </a:ext>
            </a:extLst>
          </p:cNvPr>
          <p:cNvSpPr/>
          <p:nvPr/>
        </p:nvSpPr>
        <p:spPr>
          <a:xfrm>
            <a:off x="7376881" y="3835108"/>
            <a:ext cx="1800000" cy="720000"/>
          </a:xfrm>
          <a:custGeom>
            <a:avLst/>
            <a:gdLst>
              <a:gd name="connsiteX0" fmla="*/ 0 w 1800000"/>
              <a:gd name="connsiteY0" fmla="*/ 0 h 720000"/>
              <a:gd name="connsiteX1" fmla="*/ 1800000 w 1800000"/>
              <a:gd name="connsiteY1" fmla="*/ 0 h 720000"/>
              <a:gd name="connsiteX2" fmla="*/ 1800000 w 1800000"/>
              <a:gd name="connsiteY2" fmla="*/ 720000 h 720000"/>
              <a:gd name="connsiteX3" fmla="*/ 0 w 1800000"/>
              <a:gd name="connsiteY3" fmla="*/ 720000 h 720000"/>
              <a:gd name="connsiteX4" fmla="*/ 0 w 1800000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720000">
                <a:moveTo>
                  <a:pt x="0" y="0"/>
                </a:moveTo>
                <a:lnTo>
                  <a:pt x="1800000" y="0"/>
                </a:lnTo>
                <a:lnTo>
                  <a:pt x="1800000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7112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kern="1200">
                <a:solidFill>
                  <a:schemeClr val="bg1"/>
                </a:solidFill>
              </a:rPr>
              <a:t>Text Analytics</a:t>
            </a:r>
          </a:p>
        </p:txBody>
      </p:sp>
      <p:sp>
        <p:nvSpPr>
          <p:cNvPr id="16" name="Rectangle 15" descr="Earth globe: Americas">
            <a:extLst>
              <a:ext uri="{FF2B5EF4-FFF2-40B4-BE49-F238E27FC236}">
                <a16:creationId xmlns:a16="http://schemas.microsoft.com/office/drawing/2014/main" id="{08BB858A-10DC-4A01-A991-2AC70DDC02F1}"/>
              </a:ext>
            </a:extLst>
          </p:cNvPr>
          <p:cNvSpPr/>
          <p:nvPr/>
        </p:nvSpPr>
        <p:spPr>
          <a:xfrm>
            <a:off x="9986881" y="2720404"/>
            <a:ext cx="810000" cy="810000"/>
          </a:xfrm>
          <a:prstGeom prst="rect">
            <a:avLst/>
          </a:pr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1455363"/>
              <a:satOff val="-83928"/>
              <a:lumOff val="8628"/>
              <a:alphaOff val="0"/>
            </a:schemeClr>
          </a:effectRef>
          <a:fontRef idx="minor">
            <a:schemeClr val="lt1"/>
          </a:fontRef>
        </p:style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452AB06-6919-4699-8BFD-74575A6520F5}"/>
              </a:ext>
            </a:extLst>
          </p:cNvPr>
          <p:cNvSpPr/>
          <p:nvPr/>
        </p:nvSpPr>
        <p:spPr>
          <a:xfrm>
            <a:off x="9491881" y="3835108"/>
            <a:ext cx="1800000" cy="720000"/>
          </a:xfrm>
          <a:custGeom>
            <a:avLst/>
            <a:gdLst>
              <a:gd name="connsiteX0" fmla="*/ 0 w 1800000"/>
              <a:gd name="connsiteY0" fmla="*/ 0 h 720000"/>
              <a:gd name="connsiteX1" fmla="*/ 1800000 w 1800000"/>
              <a:gd name="connsiteY1" fmla="*/ 0 h 720000"/>
              <a:gd name="connsiteX2" fmla="*/ 1800000 w 1800000"/>
              <a:gd name="connsiteY2" fmla="*/ 720000 h 720000"/>
              <a:gd name="connsiteX3" fmla="*/ 0 w 1800000"/>
              <a:gd name="connsiteY3" fmla="*/ 720000 h 720000"/>
              <a:gd name="connsiteX4" fmla="*/ 0 w 1800000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720000">
                <a:moveTo>
                  <a:pt x="0" y="0"/>
                </a:moveTo>
                <a:lnTo>
                  <a:pt x="1800000" y="0"/>
                </a:lnTo>
                <a:lnTo>
                  <a:pt x="1800000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7112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kern="1200">
                <a:solidFill>
                  <a:schemeClr val="bg1"/>
                </a:solidFill>
              </a:rPr>
              <a:t>Translator</a:t>
            </a:r>
          </a:p>
        </p:txBody>
      </p:sp>
    </p:spTree>
    <p:extLst>
      <p:ext uri="{BB962C8B-B14F-4D97-AF65-F5344CB8AC3E}">
        <p14:creationId xmlns:p14="http://schemas.microsoft.com/office/powerpoint/2010/main" val="234509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indefinite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1" dur="indefinite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4" dur="indefinite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5" dur="indefinite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indefinite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8" dur="indefinite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indefinit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9" dur="indefinite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52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indefinite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63" dur="indefinite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66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9" grpId="1"/>
      <p:bldP spid="11" grpId="0"/>
      <p:bldP spid="11" grpId="1"/>
      <p:bldP spid="13" grpId="0"/>
      <p:bldP spid="13" grpId="1"/>
      <p:bldP spid="15" grpId="0"/>
      <p:bldP spid="15" grpId="1"/>
      <p:bldP spid="17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003617-9920-472D-AA80-D4056280B1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eech</a:t>
            </a:r>
            <a:endParaRPr lang="en-NL" dirty="0"/>
          </a:p>
        </p:txBody>
      </p:sp>
      <p:sp>
        <p:nvSpPr>
          <p:cNvPr id="13" name="Rectangle 12" descr="Chat Bubble">
            <a:extLst>
              <a:ext uri="{FF2B5EF4-FFF2-40B4-BE49-F238E27FC236}">
                <a16:creationId xmlns:a16="http://schemas.microsoft.com/office/drawing/2014/main" id="{2542848A-ABC9-4D47-97C0-4B1F2225096A}"/>
              </a:ext>
            </a:extLst>
          </p:cNvPr>
          <p:cNvSpPr/>
          <p:nvPr/>
        </p:nvSpPr>
        <p:spPr>
          <a:xfrm>
            <a:off x="1339841" y="2571924"/>
            <a:ext cx="1091782" cy="1091782"/>
          </a:xfrm>
          <a:prstGeom prst="rect">
            <a:avLst/>
          </a:prstGeo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nl-NL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61C090B-11AE-4001-923C-F67652334A15}"/>
              </a:ext>
            </a:extLst>
          </p:cNvPr>
          <p:cNvSpPr/>
          <p:nvPr/>
        </p:nvSpPr>
        <p:spPr>
          <a:xfrm>
            <a:off x="672641" y="3983588"/>
            <a:ext cx="2426183" cy="720000"/>
          </a:xfrm>
          <a:custGeom>
            <a:avLst/>
            <a:gdLst>
              <a:gd name="connsiteX0" fmla="*/ 0 w 2426183"/>
              <a:gd name="connsiteY0" fmla="*/ 0 h 720000"/>
              <a:gd name="connsiteX1" fmla="*/ 2426183 w 2426183"/>
              <a:gd name="connsiteY1" fmla="*/ 0 h 720000"/>
              <a:gd name="connsiteX2" fmla="*/ 2426183 w 2426183"/>
              <a:gd name="connsiteY2" fmla="*/ 720000 h 720000"/>
              <a:gd name="connsiteX3" fmla="*/ 0 w 2426183"/>
              <a:gd name="connsiteY3" fmla="*/ 720000 h 720000"/>
              <a:gd name="connsiteX4" fmla="*/ 0 w 2426183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6183" h="720000">
                <a:moveTo>
                  <a:pt x="0" y="0"/>
                </a:moveTo>
                <a:lnTo>
                  <a:pt x="2426183" y="0"/>
                </a:lnTo>
                <a:lnTo>
                  <a:pt x="2426183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02235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nl-NL" sz="2300" kern="1200">
                <a:solidFill>
                  <a:schemeClr val="bg1"/>
                </a:solidFill>
              </a:rPr>
              <a:t>Speech </a:t>
            </a:r>
            <a:r>
              <a:rPr lang="nl-NL" sz="2300" kern="1200" err="1">
                <a:solidFill>
                  <a:schemeClr val="bg1"/>
                </a:solidFill>
              </a:rPr>
              <a:t>to</a:t>
            </a:r>
            <a:r>
              <a:rPr lang="nl-NL" sz="2300" kern="1200">
                <a:solidFill>
                  <a:schemeClr val="bg1"/>
                </a:solidFill>
              </a:rPr>
              <a:t> </a:t>
            </a:r>
            <a:r>
              <a:rPr lang="nl-NL" sz="2300" kern="1200" err="1">
                <a:solidFill>
                  <a:schemeClr val="bg1"/>
                </a:solidFill>
              </a:rPr>
              <a:t>Text</a:t>
            </a:r>
            <a:endParaRPr lang="en-US" sz="2300" kern="1200">
              <a:solidFill>
                <a:schemeClr val="bg1"/>
              </a:solidFill>
            </a:endParaRPr>
          </a:p>
        </p:txBody>
      </p:sp>
      <p:sp>
        <p:nvSpPr>
          <p:cNvPr id="15" name="Rectangle 14" descr="Speech">
            <a:extLst>
              <a:ext uri="{FF2B5EF4-FFF2-40B4-BE49-F238E27FC236}">
                <a16:creationId xmlns:a16="http://schemas.microsoft.com/office/drawing/2014/main" id="{0CE33F97-B6D0-4181-BFA6-F83AC137DCB5}"/>
              </a:ext>
            </a:extLst>
          </p:cNvPr>
          <p:cNvSpPr/>
          <p:nvPr/>
        </p:nvSpPr>
        <p:spPr>
          <a:xfrm>
            <a:off x="4190607" y="2571924"/>
            <a:ext cx="1091782" cy="1091782"/>
          </a:xfrm>
          <a:prstGeom prst="rect">
            <a:avLst/>
          </a:prstGeo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485121"/>
              <a:satOff val="-27976"/>
              <a:lumOff val="2876"/>
              <a:alphaOff val="0"/>
            </a:schemeClr>
          </a:effectRef>
          <a:fontRef idx="minor">
            <a:schemeClr val="lt1"/>
          </a:fontRef>
        </p:style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DB41A34-0F39-4DF9-9C8E-5CE24C1BA9AE}"/>
              </a:ext>
            </a:extLst>
          </p:cNvPr>
          <p:cNvSpPr/>
          <p:nvPr/>
        </p:nvSpPr>
        <p:spPr>
          <a:xfrm>
            <a:off x="3523406" y="3983588"/>
            <a:ext cx="2426183" cy="720000"/>
          </a:xfrm>
          <a:custGeom>
            <a:avLst/>
            <a:gdLst>
              <a:gd name="connsiteX0" fmla="*/ 0 w 2426183"/>
              <a:gd name="connsiteY0" fmla="*/ 0 h 720000"/>
              <a:gd name="connsiteX1" fmla="*/ 2426183 w 2426183"/>
              <a:gd name="connsiteY1" fmla="*/ 0 h 720000"/>
              <a:gd name="connsiteX2" fmla="*/ 2426183 w 2426183"/>
              <a:gd name="connsiteY2" fmla="*/ 720000 h 720000"/>
              <a:gd name="connsiteX3" fmla="*/ 0 w 2426183"/>
              <a:gd name="connsiteY3" fmla="*/ 720000 h 720000"/>
              <a:gd name="connsiteX4" fmla="*/ 0 w 2426183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6183" h="720000">
                <a:moveTo>
                  <a:pt x="0" y="0"/>
                </a:moveTo>
                <a:lnTo>
                  <a:pt x="2426183" y="0"/>
                </a:lnTo>
                <a:lnTo>
                  <a:pt x="2426183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02235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nl-NL" sz="2300" kern="1200" err="1">
                <a:solidFill>
                  <a:schemeClr val="bg1"/>
                </a:solidFill>
              </a:rPr>
              <a:t>Text</a:t>
            </a:r>
            <a:r>
              <a:rPr lang="nl-NL" sz="2300" kern="1200">
                <a:solidFill>
                  <a:schemeClr val="bg1"/>
                </a:solidFill>
              </a:rPr>
              <a:t> </a:t>
            </a:r>
            <a:r>
              <a:rPr lang="nl-NL" sz="2300" kern="1200" err="1">
                <a:solidFill>
                  <a:schemeClr val="bg1"/>
                </a:solidFill>
              </a:rPr>
              <a:t>to</a:t>
            </a:r>
            <a:r>
              <a:rPr lang="nl-NL" sz="2300" kern="1200">
                <a:solidFill>
                  <a:schemeClr val="bg1"/>
                </a:solidFill>
              </a:rPr>
              <a:t> Speech</a:t>
            </a:r>
            <a:endParaRPr lang="en-NL" sz="2300" kern="1200">
              <a:solidFill>
                <a:schemeClr val="bg1"/>
              </a:solidFill>
            </a:endParaRPr>
          </a:p>
        </p:txBody>
      </p:sp>
      <p:sp>
        <p:nvSpPr>
          <p:cNvPr id="17" name="Rectangle 16" descr="Subtitles">
            <a:extLst>
              <a:ext uri="{FF2B5EF4-FFF2-40B4-BE49-F238E27FC236}">
                <a16:creationId xmlns:a16="http://schemas.microsoft.com/office/drawing/2014/main" id="{B58859B8-B75B-4705-AE3D-007542432961}"/>
              </a:ext>
            </a:extLst>
          </p:cNvPr>
          <p:cNvSpPr/>
          <p:nvPr/>
        </p:nvSpPr>
        <p:spPr>
          <a:xfrm>
            <a:off x="7041373" y="2571924"/>
            <a:ext cx="1091782" cy="1091782"/>
          </a:xfrm>
          <a:prstGeom prst="rect">
            <a:avLst/>
          </a:prstGeom>
          <a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970242"/>
              <a:satOff val="-55952"/>
              <a:lumOff val="5752"/>
              <a:alphaOff val="0"/>
            </a:schemeClr>
          </a:effectRef>
          <a:fontRef idx="minor">
            <a:schemeClr val="lt1"/>
          </a:fontRef>
        </p:style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9DF990DE-3EC2-48E5-82C7-D8E01705928B}"/>
              </a:ext>
            </a:extLst>
          </p:cNvPr>
          <p:cNvSpPr/>
          <p:nvPr/>
        </p:nvSpPr>
        <p:spPr>
          <a:xfrm>
            <a:off x="6374172" y="3983588"/>
            <a:ext cx="2426183" cy="720000"/>
          </a:xfrm>
          <a:custGeom>
            <a:avLst/>
            <a:gdLst>
              <a:gd name="connsiteX0" fmla="*/ 0 w 2426183"/>
              <a:gd name="connsiteY0" fmla="*/ 0 h 720000"/>
              <a:gd name="connsiteX1" fmla="*/ 2426183 w 2426183"/>
              <a:gd name="connsiteY1" fmla="*/ 0 h 720000"/>
              <a:gd name="connsiteX2" fmla="*/ 2426183 w 2426183"/>
              <a:gd name="connsiteY2" fmla="*/ 720000 h 720000"/>
              <a:gd name="connsiteX3" fmla="*/ 0 w 2426183"/>
              <a:gd name="connsiteY3" fmla="*/ 720000 h 720000"/>
              <a:gd name="connsiteX4" fmla="*/ 0 w 2426183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6183" h="720000">
                <a:moveTo>
                  <a:pt x="0" y="0"/>
                </a:moveTo>
                <a:lnTo>
                  <a:pt x="2426183" y="0"/>
                </a:lnTo>
                <a:lnTo>
                  <a:pt x="2426183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02235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nl-NL" sz="2300" kern="1200">
                <a:solidFill>
                  <a:schemeClr val="bg1"/>
                </a:solidFill>
              </a:rPr>
              <a:t>Speech </a:t>
            </a:r>
            <a:r>
              <a:rPr lang="nl-NL" sz="2300" kern="1200" err="1">
                <a:solidFill>
                  <a:schemeClr val="bg1"/>
                </a:solidFill>
              </a:rPr>
              <a:t>Translation</a:t>
            </a:r>
            <a:endParaRPr lang="en-NL" sz="2300" kern="1200">
              <a:solidFill>
                <a:schemeClr val="bg1"/>
              </a:solidFill>
            </a:endParaRPr>
          </a:p>
        </p:txBody>
      </p:sp>
      <p:sp>
        <p:nvSpPr>
          <p:cNvPr id="19" name="Rectangle 18" descr="Call center">
            <a:extLst>
              <a:ext uri="{FF2B5EF4-FFF2-40B4-BE49-F238E27FC236}">
                <a16:creationId xmlns:a16="http://schemas.microsoft.com/office/drawing/2014/main" id="{7A4F757C-3AC3-4BDB-BCC0-2CA3E904FEA5}"/>
              </a:ext>
            </a:extLst>
          </p:cNvPr>
          <p:cNvSpPr/>
          <p:nvPr/>
        </p:nvSpPr>
        <p:spPr>
          <a:xfrm>
            <a:off x="9892138" y="2571924"/>
            <a:ext cx="1091782" cy="1091782"/>
          </a:xfrm>
          <a:prstGeom prst="rect">
            <a:avLst/>
          </a:pr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1455363"/>
              <a:satOff val="-83928"/>
              <a:lumOff val="8628"/>
              <a:alphaOff val="0"/>
            </a:schemeClr>
          </a:effectRef>
          <a:fontRef idx="minor">
            <a:schemeClr val="lt1"/>
          </a:fontRef>
        </p:style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5B1BE1BD-1723-4C0F-9E39-3513FBCCEB2F}"/>
              </a:ext>
            </a:extLst>
          </p:cNvPr>
          <p:cNvSpPr/>
          <p:nvPr/>
        </p:nvSpPr>
        <p:spPr>
          <a:xfrm>
            <a:off x="9224938" y="3983588"/>
            <a:ext cx="2426183" cy="720000"/>
          </a:xfrm>
          <a:custGeom>
            <a:avLst/>
            <a:gdLst>
              <a:gd name="connsiteX0" fmla="*/ 0 w 2426183"/>
              <a:gd name="connsiteY0" fmla="*/ 0 h 720000"/>
              <a:gd name="connsiteX1" fmla="*/ 2426183 w 2426183"/>
              <a:gd name="connsiteY1" fmla="*/ 0 h 720000"/>
              <a:gd name="connsiteX2" fmla="*/ 2426183 w 2426183"/>
              <a:gd name="connsiteY2" fmla="*/ 720000 h 720000"/>
              <a:gd name="connsiteX3" fmla="*/ 0 w 2426183"/>
              <a:gd name="connsiteY3" fmla="*/ 720000 h 720000"/>
              <a:gd name="connsiteX4" fmla="*/ 0 w 2426183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6183" h="720000">
                <a:moveTo>
                  <a:pt x="0" y="0"/>
                </a:moveTo>
                <a:lnTo>
                  <a:pt x="2426183" y="0"/>
                </a:lnTo>
                <a:lnTo>
                  <a:pt x="2426183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02235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nl-NL" sz="2300" kern="1200">
                <a:solidFill>
                  <a:schemeClr val="bg1"/>
                </a:solidFill>
              </a:rPr>
              <a:t>Speaker Recognition</a:t>
            </a:r>
            <a:endParaRPr lang="en-NL" sz="2300" kern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4694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1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indefinite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4" dur="indefinite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5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indefinite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8" dur="indefinite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indefinite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9" dur="indefinite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indefinite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52" dur="indefinite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4" grpId="1"/>
      <p:bldP spid="16" grpId="0"/>
      <p:bldP spid="16" grpId="1"/>
      <p:bldP spid="18" grpId="0"/>
      <p:bldP spid="18" grpId="1"/>
      <p:bldP spid="20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852C78-2140-4C27-A015-FCD129D7FF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sion</a:t>
            </a:r>
            <a:endParaRPr lang="en-NL" dirty="0"/>
          </a:p>
        </p:txBody>
      </p:sp>
      <p:sp>
        <p:nvSpPr>
          <p:cNvPr id="6" name="Rectangle 5" descr="Processor">
            <a:extLst>
              <a:ext uri="{FF2B5EF4-FFF2-40B4-BE49-F238E27FC236}">
                <a16:creationId xmlns:a16="http://schemas.microsoft.com/office/drawing/2014/main" id="{653F0192-2E0C-400E-8D3F-4F295BDCBAA5}"/>
              </a:ext>
            </a:extLst>
          </p:cNvPr>
          <p:cNvSpPr/>
          <p:nvPr/>
        </p:nvSpPr>
        <p:spPr>
          <a:xfrm>
            <a:off x="730658" y="2755516"/>
            <a:ext cx="772822" cy="772822"/>
          </a:xfrm>
          <a:prstGeom prst="rect">
            <a:avLst/>
          </a:prstGeo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A72A24D-357E-470D-B9FA-94ED0397B622}"/>
              </a:ext>
            </a:extLst>
          </p:cNvPr>
          <p:cNvSpPr/>
          <p:nvPr/>
        </p:nvSpPr>
        <p:spPr>
          <a:xfrm>
            <a:off x="258378" y="3833043"/>
            <a:ext cx="1717382" cy="686953"/>
          </a:xfrm>
          <a:custGeom>
            <a:avLst/>
            <a:gdLst>
              <a:gd name="connsiteX0" fmla="*/ 0 w 1717382"/>
              <a:gd name="connsiteY0" fmla="*/ 0 h 686953"/>
              <a:gd name="connsiteX1" fmla="*/ 1717382 w 1717382"/>
              <a:gd name="connsiteY1" fmla="*/ 0 h 686953"/>
              <a:gd name="connsiteX2" fmla="*/ 1717382 w 1717382"/>
              <a:gd name="connsiteY2" fmla="*/ 686953 h 686953"/>
              <a:gd name="connsiteX3" fmla="*/ 0 w 1717382"/>
              <a:gd name="connsiteY3" fmla="*/ 686953 h 686953"/>
              <a:gd name="connsiteX4" fmla="*/ 0 w 1717382"/>
              <a:gd name="connsiteY4" fmla="*/ 0 h 686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7382" h="686953">
                <a:moveTo>
                  <a:pt x="0" y="0"/>
                </a:moveTo>
                <a:lnTo>
                  <a:pt x="1717382" y="0"/>
                </a:lnTo>
                <a:lnTo>
                  <a:pt x="1717382" y="686953"/>
                </a:lnTo>
                <a:lnTo>
                  <a:pt x="0" y="68695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9779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nl-NL" sz="2200" kern="1200">
                <a:solidFill>
                  <a:schemeClr val="bg1"/>
                </a:solidFill>
              </a:rPr>
              <a:t>Computer </a:t>
            </a:r>
            <a:r>
              <a:rPr lang="nl-NL" sz="2200" kern="1200" err="1">
                <a:solidFill>
                  <a:schemeClr val="bg1"/>
                </a:solidFill>
              </a:rPr>
              <a:t>Vision</a:t>
            </a:r>
            <a:endParaRPr lang="en-US" sz="2200" kern="1200">
              <a:solidFill>
                <a:schemeClr val="bg1"/>
              </a:solidFill>
            </a:endParaRPr>
          </a:p>
        </p:txBody>
      </p:sp>
      <p:sp>
        <p:nvSpPr>
          <p:cNvPr id="8" name="Rectangle 7" descr="Eye">
            <a:extLst>
              <a:ext uri="{FF2B5EF4-FFF2-40B4-BE49-F238E27FC236}">
                <a16:creationId xmlns:a16="http://schemas.microsoft.com/office/drawing/2014/main" id="{DC84CF42-5CF1-460A-BD37-5CA5039C1E9D}"/>
              </a:ext>
            </a:extLst>
          </p:cNvPr>
          <p:cNvSpPr/>
          <p:nvPr/>
        </p:nvSpPr>
        <p:spPr>
          <a:xfrm>
            <a:off x="2748583" y="2755516"/>
            <a:ext cx="772822" cy="772822"/>
          </a:xfrm>
          <a:prstGeom prst="rect">
            <a:avLst/>
          </a:prstGeo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291073"/>
              <a:satOff val="-16786"/>
              <a:lumOff val="1726"/>
              <a:alphaOff val="0"/>
            </a:schemeClr>
          </a:effectRef>
          <a:fontRef idx="minor">
            <a:schemeClr val="lt1"/>
          </a:fontRef>
        </p:style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E38021C-A16D-47A5-B9C1-E009BD0B12B3}"/>
              </a:ext>
            </a:extLst>
          </p:cNvPr>
          <p:cNvSpPr/>
          <p:nvPr/>
        </p:nvSpPr>
        <p:spPr>
          <a:xfrm>
            <a:off x="2276302" y="3833043"/>
            <a:ext cx="1717382" cy="686953"/>
          </a:xfrm>
          <a:custGeom>
            <a:avLst/>
            <a:gdLst>
              <a:gd name="connsiteX0" fmla="*/ 0 w 1717382"/>
              <a:gd name="connsiteY0" fmla="*/ 0 h 686953"/>
              <a:gd name="connsiteX1" fmla="*/ 1717382 w 1717382"/>
              <a:gd name="connsiteY1" fmla="*/ 0 h 686953"/>
              <a:gd name="connsiteX2" fmla="*/ 1717382 w 1717382"/>
              <a:gd name="connsiteY2" fmla="*/ 686953 h 686953"/>
              <a:gd name="connsiteX3" fmla="*/ 0 w 1717382"/>
              <a:gd name="connsiteY3" fmla="*/ 686953 h 686953"/>
              <a:gd name="connsiteX4" fmla="*/ 0 w 1717382"/>
              <a:gd name="connsiteY4" fmla="*/ 0 h 686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7382" h="686953">
                <a:moveTo>
                  <a:pt x="0" y="0"/>
                </a:moveTo>
                <a:lnTo>
                  <a:pt x="1717382" y="0"/>
                </a:lnTo>
                <a:lnTo>
                  <a:pt x="1717382" y="686953"/>
                </a:lnTo>
                <a:lnTo>
                  <a:pt x="0" y="68695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9779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>
                <a:solidFill>
                  <a:schemeClr val="bg1"/>
                </a:solidFill>
              </a:rPr>
              <a:t>Custom Vision</a:t>
            </a:r>
          </a:p>
        </p:txBody>
      </p:sp>
      <p:sp>
        <p:nvSpPr>
          <p:cNvPr id="10" name="Rectangle 9" descr="Smiling face with solid fill">
            <a:extLst>
              <a:ext uri="{FF2B5EF4-FFF2-40B4-BE49-F238E27FC236}">
                <a16:creationId xmlns:a16="http://schemas.microsoft.com/office/drawing/2014/main" id="{CE955F06-6E8C-463A-AD5B-A6CAE017A621}"/>
              </a:ext>
            </a:extLst>
          </p:cNvPr>
          <p:cNvSpPr/>
          <p:nvPr/>
        </p:nvSpPr>
        <p:spPr>
          <a:xfrm>
            <a:off x="4766507" y="2755516"/>
            <a:ext cx="772822" cy="772822"/>
          </a:xfrm>
          <a:prstGeom prst="rect">
            <a:avLst/>
          </a:pr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582145"/>
              <a:satOff val="-33571"/>
              <a:lumOff val="3451"/>
              <a:alphaOff val="0"/>
            </a:schemeClr>
          </a:effectRef>
          <a:fontRef idx="minor">
            <a:schemeClr val="lt1"/>
          </a:fontRef>
        </p:style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D421D3CC-79FF-4026-9FA7-462CCB0E039F}"/>
              </a:ext>
            </a:extLst>
          </p:cNvPr>
          <p:cNvSpPr/>
          <p:nvPr/>
        </p:nvSpPr>
        <p:spPr>
          <a:xfrm>
            <a:off x="4294227" y="3833043"/>
            <a:ext cx="1717382" cy="686953"/>
          </a:xfrm>
          <a:custGeom>
            <a:avLst/>
            <a:gdLst>
              <a:gd name="connsiteX0" fmla="*/ 0 w 1717382"/>
              <a:gd name="connsiteY0" fmla="*/ 0 h 686953"/>
              <a:gd name="connsiteX1" fmla="*/ 1717382 w 1717382"/>
              <a:gd name="connsiteY1" fmla="*/ 0 h 686953"/>
              <a:gd name="connsiteX2" fmla="*/ 1717382 w 1717382"/>
              <a:gd name="connsiteY2" fmla="*/ 686953 h 686953"/>
              <a:gd name="connsiteX3" fmla="*/ 0 w 1717382"/>
              <a:gd name="connsiteY3" fmla="*/ 686953 h 686953"/>
              <a:gd name="connsiteX4" fmla="*/ 0 w 1717382"/>
              <a:gd name="connsiteY4" fmla="*/ 0 h 686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7382" h="686953">
                <a:moveTo>
                  <a:pt x="0" y="0"/>
                </a:moveTo>
                <a:lnTo>
                  <a:pt x="1717382" y="0"/>
                </a:lnTo>
                <a:lnTo>
                  <a:pt x="1717382" y="686953"/>
                </a:lnTo>
                <a:lnTo>
                  <a:pt x="0" y="68695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9779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>
                <a:solidFill>
                  <a:schemeClr val="bg1"/>
                </a:solidFill>
              </a:rPr>
              <a:t>Face</a:t>
            </a:r>
            <a:endParaRPr lang="en-NL" sz="2200" kern="1200">
              <a:solidFill>
                <a:schemeClr val="bg1"/>
              </a:solidFill>
            </a:endParaRPr>
          </a:p>
        </p:txBody>
      </p:sp>
      <p:sp>
        <p:nvSpPr>
          <p:cNvPr id="12" name="Rectangle 11" descr="Document">
            <a:extLst>
              <a:ext uri="{FF2B5EF4-FFF2-40B4-BE49-F238E27FC236}">
                <a16:creationId xmlns:a16="http://schemas.microsoft.com/office/drawing/2014/main" id="{B1F7EEB1-8CB6-4F88-95AE-C1746FEE784B}"/>
              </a:ext>
            </a:extLst>
          </p:cNvPr>
          <p:cNvSpPr/>
          <p:nvPr/>
        </p:nvSpPr>
        <p:spPr>
          <a:xfrm>
            <a:off x="6784432" y="2755516"/>
            <a:ext cx="772822" cy="772822"/>
          </a:xfrm>
          <a:prstGeom prst="rect">
            <a:avLst/>
          </a:pr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873218"/>
              <a:satOff val="-50357"/>
              <a:lumOff val="5177"/>
              <a:alphaOff val="0"/>
            </a:schemeClr>
          </a:effectRef>
          <a:fontRef idx="minor">
            <a:schemeClr val="lt1"/>
          </a:fontRef>
        </p:style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A1FD7662-4BCB-4ABC-BCD8-5941B1D80D4C}"/>
              </a:ext>
            </a:extLst>
          </p:cNvPr>
          <p:cNvSpPr/>
          <p:nvPr/>
        </p:nvSpPr>
        <p:spPr>
          <a:xfrm>
            <a:off x="6312152" y="3833043"/>
            <a:ext cx="1717382" cy="686953"/>
          </a:xfrm>
          <a:custGeom>
            <a:avLst/>
            <a:gdLst>
              <a:gd name="connsiteX0" fmla="*/ 0 w 1717382"/>
              <a:gd name="connsiteY0" fmla="*/ 0 h 686953"/>
              <a:gd name="connsiteX1" fmla="*/ 1717382 w 1717382"/>
              <a:gd name="connsiteY1" fmla="*/ 0 h 686953"/>
              <a:gd name="connsiteX2" fmla="*/ 1717382 w 1717382"/>
              <a:gd name="connsiteY2" fmla="*/ 686953 h 686953"/>
              <a:gd name="connsiteX3" fmla="*/ 0 w 1717382"/>
              <a:gd name="connsiteY3" fmla="*/ 686953 h 686953"/>
              <a:gd name="connsiteX4" fmla="*/ 0 w 1717382"/>
              <a:gd name="connsiteY4" fmla="*/ 0 h 686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7382" h="686953">
                <a:moveTo>
                  <a:pt x="0" y="0"/>
                </a:moveTo>
                <a:lnTo>
                  <a:pt x="1717382" y="0"/>
                </a:lnTo>
                <a:lnTo>
                  <a:pt x="1717382" y="686953"/>
                </a:lnTo>
                <a:lnTo>
                  <a:pt x="0" y="68695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9779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>
                <a:solidFill>
                  <a:schemeClr val="bg1"/>
                </a:solidFill>
              </a:rPr>
              <a:t>Form Recognizer</a:t>
            </a:r>
            <a:endParaRPr lang="en-NL" sz="2200" kern="1200">
              <a:solidFill>
                <a:schemeClr val="bg1"/>
              </a:solidFill>
            </a:endParaRPr>
          </a:p>
        </p:txBody>
      </p:sp>
      <p:sp>
        <p:nvSpPr>
          <p:cNvPr id="14" name="Rectangle 13" descr="Pencil">
            <a:extLst>
              <a:ext uri="{FF2B5EF4-FFF2-40B4-BE49-F238E27FC236}">
                <a16:creationId xmlns:a16="http://schemas.microsoft.com/office/drawing/2014/main" id="{0E73C5FE-8824-468D-9803-E994E7A80EED}"/>
              </a:ext>
            </a:extLst>
          </p:cNvPr>
          <p:cNvSpPr/>
          <p:nvPr/>
        </p:nvSpPr>
        <p:spPr>
          <a:xfrm>
            <a:off x="8802357" y="2755516"/>
            <a:ext cx="772822" cy="772822"/>
          </a:xfrm>
          <a:prstGeom prst="rect">
            <a:avLst/>
          </a:prstGeom>
          <a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1164290"/>
              <a:satOff val="-67142"/>
              <a:lumOff val="6902"/>
              <a:alphaOff val="0"/>
            </a:schemeClr>
          </a:effectRef>
          <a:fontRef idx="minor">
            <a:schemeClr val="lt1"/>
          </a:fontRef>
        </p:style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1B82F37-0117-4FF3-930E-C02EE2F20E7F}"/>
              </a:ext>
            </a:extLst>
          </p:cNvPr>
          <p:cNvSpPr/>
          <p:nvPr/>
        </p:nvSpPr>
        <p:spPr>
          <a:xfrm>
            <a:off x="8330077" y="3833043"/>
            <a:ext cx="1717382" cy="686953"/>
          </a:xfrm>
          <a:custGeom>
            <a:avLst/>
            <a:gdLst>
              <a:gd name="connsiteX0" fmla="*/ 0 w 1717382"/>
              <a:gd name="connsiteY0" fmla="*/ 0 h 686953"/>
              <a:gd name="connsiteX1" fmla="*/ 1717382 w 1717382"/>
              <a:gd name="connsiteY1" fmla="*/ 0 h 686953"/>
              <a:gd name="connsiteX2" fmla="*/ 1717382 w 1717382"/>
              <a:gd name="connsiteY2" fmla="*/ 686953 h 686953"/>
              <a:gd name="connsiteX3" fmla="*/ 0 w 1717382"/>
              <a:gd name="connsiteY3" fmla="*/ 686953 h 686953"/>
              <a:gd name="connsiteX4" fmla="*/ 0 w 1717382"/>
              <a:gd name="connsiteY4" fmla="*/ 0 h 686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7382" h="686953">
                <a:moveTo>
                  <a:pt x="0" y="0"/>
                </a:moveTo>
                <a:lnTo>
                  <a:pt x="1717382" y="0"/>
                </a:lnTo>
                <a:lnTo>
                  <a:pt x="1717382" y="686953"/>
                </a:lnTo>
                <a:lnTo>
                  <a:pt x="0" y="68695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9779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>
                <a:solidFill>
                  <a:schemeClr val="bg1"/>
                </a:solidFill>
              </a:rPr>
              <a:t>Ink Recognizer</a:t>
            </a:r>
            <a:endParaRPr lang="en-NL" sz="2200" kern="1200">
              <a:solidFill>
                <a:schemeClr val="bg1"/>
              </a:solidFill>
            </a:endParaRPr>
          </a:p>
        </p:txBody>
      </p:sp>
      <p:sp>
        <p:nvSpPr>
          <p:cNvPr id="16" name="Rectangle 15" descr="Film strip">
            <a:extLst>
              <a:ext uri="{FF2B5EF4-FFF2-40B4-BE49-F238E27FC236}">
                <a16:creationId xmlns:a16="http://schemas.microsoft.com/office/drawing/2014/main" id="{4280EEC2-5472-4F77-993B-54CB76CC9022}"/>
              </a:ext>
            </a:extLst>
          </p:cNvPr>
          <p:cNvSpPr/>
          <p:nvPr/>
        </p:nvSpPr>
        <p:spPr>
          <a:xfrm>
            <a:off x="10820282" y="2755516"/>
            <a:ext cx="772822" cy="772822"/>
          </a:xfrm>
          <a:prstGeom prst="rect">
            <a:avLst/>
          </a:pr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1455363"/>
              <a:satOff val="-83928"/>
              <a:lumOff val="8628"/>
              <a:alphaOff val="0"/>
            </a:schemeClr>
          </a:effectRef>
          <a:fontRef idx="minor">
            <a:schemeClr val="lt1"/>
          </a:fontRef>
        </p:style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B3A61703-B17C-4A37-859F-9757B38B18C5}"/>
              </a:ext>
            </a:extLst>
          </p:cNvPr>
          <p:cNvSpPr/>
          <p:nvPr/>
        </p:nvSpPr>
        <p:spPr>
          <a:xfrm>
            <a:off x="10348002" y="3833043"/>
            <a:ext cx="1717382" cy="686953"/>
          </a:xfrm>
          <a:custGeom>
            <a:avLst/>
            <a:gdLst>
              <a:gd name="connsiteX0" fmla="*/ 0 w 1717382"/>
              <a:gd name="connsiteY0" fmla="*/ 0 h 686953"/>
              <a:gd name="connsiteX1" fmla="*/ 1717382 w 1717382"/>
              <a:gd name="connsiteY1" fmla="*/ 0 h 686953"/>
              <a:gd name="connsiteX2" fmla="*/ 1717382 w 1717382"/>
              <a:gd name="connsiteY2" fmla="*/ 686953 h 686953"/>
              <a:gd name="connsiteX3" fmla="*/ 0 w 1717382"/>
              <a:gd name="connsiteY3" fmla="*/ 686953 h 686953"/>
              <a:gd name="connsiteX4" fmla="*/ 0 w 1717382"/>
              <a:gd name="connsiteY4" fmla="*/ 0 h 686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7382" h="686953">
                <a:moveTo>
                  <a:pt x="0" y="0"/>
                </a:moveTo>
                <a:lnTo>
                  <a:pt x="1717382" y="0"/>
                </a:lnTo>
                <a:lnTo>
                  <a:pt x="1717382" y="686953"/>
                </a:lnTo>
                <a:lnTo>
                  <a:pt x="0" y="68695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9779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>
                <a:solidFill>
                  <a:schemeClr val="bg1"/>
                </a:solidFill>
              </a:rPr>
              <a:t>Video Indexer</a:t>
            </a:r>
            <a:endParaRPr lang="en-NL" sz="2200" kern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5245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indefinite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1" dur="indefinite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indefinite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4" dur="indefinite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indefinite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5" dur="indefinite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8" dur="indefinite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9" dur="indefinite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indefinite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52" dur="indefinite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indefinit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63" dur="indefinite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66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indefinite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77" dur="indefinite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80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7" grpId="1"/>
      <p:bldP spid="9" grpId="0"/>
      <p:bldP spid="9" grpId="1"/>
      <p:bldP spid="11" grpId="0"/>
      <p:bldP spid="11" grpId="1"/>
      <p:bldP spid="13" grpId="0"/>
      <p:bldP spid="13" grpId="1"/>
      <p:bldP spid="15" grpId="0"/>
      <p:bldP spid="15" grpId="1"/>
      <p:bldP spid="17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93083C-A141-41AA-ACA1-5BC2DD138A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b search</a:t>
            </a:r>
            <a:endParaRPr lang="en-NL" dirty="0"/>
          </a:p>
        </p:txBody>
      </p:sp>
      <p:sp>
        <p:nvSpPr>
          <p:cNvPr id="6" name="Rectangle 5" descr="Wind Chime">
            <a:extLst>
              <a:ext uri="{FF2B5EF4-FFF2-40B4-BE49-F238E27FC236}">
                <a16:creationId xmlns:a16="http://schemas.microsoft.com/office/drawing/2014/main" id="{A2E3F27A-9AFE-4D4E-9465-6363EC707EAA}"/>
              </a:ext>
            </a:extLst>
          </p:cNvPr>
          <p:cNvSpPr/>
          <p:nvPr/>
        </p:nvSpPr>
        <p:spPr>
          <a:xfrm>
            <a:off x="1041966" y="1754580"/>
            <a:ext cx="728525" cy="728525"/>
          </a:xfrm>
          <a:prstGeom prst="rect">
            <a:avLst/>
          </a:prstGeo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020DFA7C-F7BC-4F67-8BB1-63C81091E8FF}"/>
              </a:ext>
            </a:extLst>
          </p:cNvPr>
          <p:cNvSpPr/>
          <p:nvPr/>
        </p:nvSpPr>
        <p:spPr>
          <a:xfrm>
            <a:off x="596756" y="2787810"/>
            <a:ext cx="1618945" cy="647578"/>
          </a:xfrm>
          <a:custGeom>
            <a:avLst/>
            <a:gdLst>
              <a:gd name="connsiteX0" fmla="*/ 0 w 1618945"/>
              <a:gd name="connsiteY0" fmla="*/ 0 h 647578"/>
              <a:gd name="connsiteX1" fmla="*/ 1618945 w 1618945"/>
              <a:gd name="connsiteY1" fmla="*/ 0 h 647578"/>
              <a:gd name="connsiteX2" fmla="*/ 1618945 w 1618945"/>
              <a:gd name="connsiteY2" fmla="*/ 647578 h 647578"/>
              <a:gd name="connsiteX3" fmla="*/ 0 w 1618945"/>
              <a:gd name="connsiteY3" fmla="*/ 647578 h 647578"/>
              <a:gd name="connsiteX4" fmla="*/ 0 w 1618945"/>
              <a:gd name="connsiteY4" fmla="*/ 0 h 647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8945" h="647578">
                <a:moveTo>
                  <a:pt x="0" y="0"/>
                </a:moveTo>
                <a:lnTo>
                  <a:pt x="1618945" y="0"/>
                </a:lnTo>
                <a:lnTo>
                  <a:pt x="1618945" y="647578"/>
                </a:lnTo>
                <a:lnTo>
                  <a:pt x="0" y="64757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8890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>
                <a:solidFill>
                  <a:schemeClr val="bg1"/>
                </a:solidFill>
              </a:rPr>
              <a:t>Bing Autosuggest</a:t>
            </a:r>
          </a:p>
        </p:txBody>
      </p:sp>
      <p:sp>
        <p:nvSpPr>
          <p:cNvPr id="8" name="Rectangle 7" descr="Magnifying glass">
            <a:extLst>
              <a:ext uri="{FF2B5EF4-FFF2-40B4-BE49-F238E27FC236}">
                <a16:creationId xmlns:a16="http://schemas.microsoft.com/office/drawing/2014/main" id="{B8334A5B-6B07-4903-B5FB-F1CBE9875E0D}"/>
              </a:ext>
            </a:extLst>
          </p:cNvPr>
          <p:cNvSpPr/>
          <p:nvPr/>
        </p:nvSpPr>
        <p:spPr>
          <a:xfrm>
            <a:off x="2944227" y="1754580"/>
            <a:ext cx="728525" cy="728525"/>
          </a:xfrm>
          <a:prstGeom prst="rect">
            <a:avLst/>
          </a:prstGeo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181920"/>
              <a:satOff val="-10491"/>
              <a:lumOff val="1078"/>
              <a:alphaOff val="0"/>
            </a:schemeClr>
          </a:effectRef>
          <a:fontRef idx="minor">
            <a:schemeClr val="lt1"/>
          </a:fontRef>
        </p:style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52CC026C-7F28-4DC7-ACBE-8D4B571D9505}"/>
              </a:ext>
            </a:extLst>
          </p:cNvPr>
          <p:cNvSpPr/>
          <p:nvPr/>
        </p:nvSpPr>
        <p:spPr>
          <a:xfrm>
            <a:off x="2499017" y="2787810"/>
            <a:ext cx="1618945" cy="647578"/>
          </a:xfrm>
          <a:custGeom>
            <a:avLst/>
            <a:gdLst>
              <a:gd name="connsiteX0" fmla="*/ 0 w 1618945"/>
              <a:gd name="connsiteY0" fmla="*/ 0 h 647578"/>
              <a:gd name="connsiteX1" fmla="*/ 1618945 w 1618945"/>
              <a:gd name="connsiteY1" fmla="*/ 0 h 647578"/>
              <a:gd name="connsiteX2" fmla="*/ 1618945 w 1618945"/>
              <a:gd name="connsiteY2" fmla="*/ 647578 h 647578"/>
              <a:gd name="connsiteX3" fmla="*/ 0 w 1618945"/>
              <a:gd name="connsiteY3" fmla="*/ 647578 h 647578"/>
              <a:gd name="connsiteX4" fmla="*/ 0 w 1618945"/>
              <a:gd name="connsiteY4" fmla="*/ 0 h 647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8945" h="647578">
                <a:moveTo>
                  <a:pt x="0" y="0"/>
                </a:moveTo>
                <a:lnTo>
                  <a:pt x="1618945" y="0"/>
                </a:lnTo>
                <a:lnTo>
                  <a:pt x="1618945" y="647578"/>
                </a:lnTo>
                <a:lnTo>
                  <a:pt x="0" y="64757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8890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>
                <a:solidFill>
                  <a:schemeClr val="bg1"/>
                </a:solidFill>
              </a:rPr>
              <a:t>Bing Custom Search</a:t>
            </a:r>
            <a:endParaRPr lang="en-NL" sz="2000" kern="1200">
              <a:solidFill>
                <a:schemeClr val="bg1"/>
              </a:solidFill>
            </a:endParaRPr>
          </a:p>
        </p:txBody>
      </p:sp>
      <p:sp>
        <p:nvSpPr>
          <p:cNvPr id="10" name="Rectangle 9" descr="Search Inventory">
            <a:extLst>
              <a:ext uri="{FF2B5EF4-FFF2-40B4-BE49-F238E27FC236}">
                <a16:creationId xmlns:a16="http://schemas.microsoft.com/office/drawing/2014/main" id="{9F7DB3E5-329E-416A-A73A-198D0DEFD0B9}"/>
              </a:ext>
            </a:extLst>
          </p:cNvPr>
          <p:cNvSpPr/>
          <p:nvPr/>
        </p:nvSpPr>
        <p:spPr>
          <a:xfrm>
            <a:off x="4846488" y="1754580"/>
            <a:ext cx="728525" cy="728525"/>
          </a:xfrm>
          <a:prstGeom prst="rect">
            <a:avLst/>
          </a:pr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363841"/>
              <a:satOff val="-20982"/>
              <a:lumOff val="2157"/>
              <a:alphaOff val="0"/>
            </a:schemeClr>
          </a:effectRef>
          <a:fontRef idx="minor">
            <a:schemeClr val="lt1"/>
          </a:fontRef>
        </p:style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7D04B3AD-9EA9-4322-A1A9-5AC46A43E4D4}"/>
              </a:ext>
            </a:extLst>
          </p:cNvPr>
          <p:cNvSpPr/>
          <p:nvPr/>
        </p:nvSpPr>
        <p:spPr>
          <a:xfrm>
            <a:off x="4401278" y="2787810"/>
            <a:ext cx="1618945" cy="647578"/>
          </a:xfrm>
          <a:custGeom>
            <a:avLst/>
            <a:gdLst>
              <a:gd name="connsiteX0" fmla="*/ 0 w 1618945"/>
              <a:gd name="connsiteY0" fmla="*/ 0 h 647578"/>
              <a:gd name="connsiteX1" fmla="*/ 1618945 w 1618945"/>
              <a:gd name="connsiteY1" fmla="*/ 0 h 647578"/>
              <a:gd name="connsiteX2" fmla="*/ 1618945 w 1618945"/>
              <a:gd name="connsiteY2" fmla="*/ 647578 h 647578"/>
              <a:gd name="connsiteX3" fmla="*/ 0 w 1618945"/>
              <a:gd name="connsiteY3" fmla="*/ 647578 h 647578"/>
              <a:gd name="connsiteX4" fmla="*/ 0 w 1618945"/>
              <a:gd name="connsiteY4" fmla="*/ 0 h 647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8945" h="647578">
                <a:moveTo>
                  <a:pt x="0" y="0"/>
                </a:moveTo>
                <a:lnTo>
                  <a:pt x="1618945" y="0"/>
                </a:lnTo>
                <a:lnTo>
                  <a:pt x="1618945" y="647578"/>
                </a:lnTo>
                <a:lnTo>
                  <a:pt x="0" y="64757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8890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>
                <a:solidFill>
                  <a:schemeClr val="bg1"/>
                </a:solidFill>
              </a:rPr>
              <a:t>Bing Entity Search</a:t>
            </a:r>
            <a:endParaRPr lang="en-NL" sz="2000" kern="1200">
              <a:solidFill>
                <a:schemeClr val="bg1"/>
              </a:solidFill>
            </a:endParaRPr>
          </a:p>
        </p:txBody>
      </p:sp>
      <p:sp>
        <p:nvSpPr>
          <p:cNvPr id="12" name="Rectangle 11" descr="Camera">
            <a:extLst>
              <a:ext uri="{FF2B5EF4-FFF2-40B4-BE49-F238E27FC236}">
                <a16:creationId xmlns:a16="http://schemas.microsoft.com/office/drawing/2014/main" id="{2F6F28D5-8325-4EA5-B7AD-2F42451E1F32}"/>
              </a:ext>
            </a:extLst>
          </p:cNvPr>
          <p:cNvSpPr/>
          <p:nvPr/>
        </p:nvSpPr>
        <p:spPr>
          <a:xfrm>
            <a:off x="6748749" y="1754580"/>
            <a:ext cx="728525" cy="728525"/>
          </a:xfrm>
          <a:prstGeom prst="rect">
            <a:avLst/>
          </a:prstGeom>
          <a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545761"/>
              <a:satOff val="-31473"/>
              <a:lumOff val="3235"/>
              <a:alphaOff val="0"/>
            </a:schemeClr>
          </a:effectRef>
          <a:fontRef idx="minor">
            <a:schemeClr val="lt1"/>
          </a:fontRef>
        </p:style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41C12048-2F0B-4ED2-83FD-4E29434AB1FF}"/>
              </a:ext>
            </a:extLst>
          </p:cNvPr>
          <p:cNvSpPr/>
          <p:nvPr/>
        </p:nvSpPr>
        <p:spPr>
          <a:xfrm>
            <a:off x="6303539" y="2787810"/>
            <a:ext cx="1618945" cy="647578"/>
          </a:xfrm>
          <a:custGeom>
            <a:avLst/>
            <a:gdLst>
              <a:gd name="connsiteX0" fmla="*/ 0 w 1618945"/>
              <a:gd name="connsiteY0" fmla="*/ 0 h 647578"/>
              <a:gd name="connsiteX1" fmla="*/ 1618945 w 1618945"/>
              <a:gd name="connsiteY1" fmla="*/ 0 h 647578"/>
              <a:gd name="connsiteX2" fmla="*/ 1618945 w 1618945"/>
              <a:gd name="connsiteY2" fmla="*/ 647578 h 647578"/>
              <a:gd name="connsiteX3" fmla="*/ 0 w 1618945"/>
              <a:gd name="connsiteY3" fmla="*/ 647578 h 647578"/>
              <a:gd name="connsiteX4" fmla="*/ 0 w 1618945"/>
              <a:gd name="connsiteY4" fmla="*/ 0 h 647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8945" h="647578">
                <a:moveTo>
                  <a:pt x="0" y="0"/>
                </a:moveTo>
                <a:lnTo>
                  <a:pt x="1618945" y="0"/>
                </a:lnTo>
                <a:lnTo>
                  <a:pt x="1618945" y="647578"/>
                </a:lnTo>
                <a:lnTo>
                  <a:pt x="0" y="64757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8890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>
                <a:solidFill>
                  <a:schemeClr val="bg1"/>
                </a:solidFill>
              </a:rPr>
              <a:t>Bing Image Search</a:t>
            </a:r>
            <a:endParaRPr lang="en-NL" sz="2000" kern="1200">
              <a:solidFill>
                <a:schemeClr val="bg1"/>
              </a:solidFill>
            </a:endParaRPr>
          </a:p>
        </p:txBody>
      </p:sp>
      <p:sp>
        <p:nvSpPr>
          <p:cNvPr id="14" name="Rectangle 13" descr="Newspaper">
            <a:extLst>
              <a:ext uri="{FF2B5EF4-FFF2-40B4-BE49-F238E27FC236}">
                <a16:creationId xmlns:a16="http://schemas.microsoft.com/office/drawing/2014/main" id="{2C3D1E2F-77EA-4119-8479-EC1C3EA8F7F6}"/>
              </a:ext>
            </a:extLst>
          </p:cNvPr>
          <p:cNvSpPr/>
          <p:nvPr/>
        </p:nvSpPr>
        <p:spPr>
          <a:xfrm>
            <a:off x="8651009" y="1754580"/>
            <a:ext cx="728525" cy="728525"/>
          </a:xfrm>
          <a:prstGeom prst="rect">
            <a:avLst/>
          </a:prstGeom>
          <a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727682"/>
              <a:satOff val="-41964"/>
              <a:lumOff val="4314"/>
              <a:alphaOff val="0"/>
            </a:schemeClr>
          </a:effectRef>
          <a:fontRef idx="minor">
            <a:schemeClr val="lt1"/>
          </a:fontRef>
        </p:style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1A462AB2-598A-4701-A3DB-F07DCE29A9A0}"/>
              </a:ext>
            </a:extLst>
          </p:cNvPr>
          <p:cNvSpPr/>
          <p:nvPr/>
        </p:nvSpPr>
        <p:spPr>
          <a:xfrm>
            <a:off x="8205799" y="2787810"/>
            <a:ext cx="1618945" cy="647578"/>
          </a:xfrm>
          <a:custGeom>
            <a:avLst/>
            <a:gdLst>
              <a:gd name="connsiteX0" fmla="*/ 0 w 1618945"/>
              <a:gd name="connsiteY0" fmla="*/ 0 h 647578"/>
              <a:gd name="connsiteX1" fmla="*/ 1618945 w 1618945"/>
              <a:gd name="connsiteY1" fmla="*/ 0 h 647578"/>
              <a:gd name="connsiteX2" fmla="*/ 1618945 w 1618945"/>
              <a:gd name="connsiteY2" fmla="*/ 647578 h 647578"/>
              <a:gd name="connsiteX3" fmla="*/ 0 w 1618945"/>
              <a:gd name="connsiteY3" fmla="*/ 647578 h 647578"/>
              <a:gd name="connsiteX4" fmla="*/ 0 w 1618945"/>
              <a:gd name="connsiteY4" fmla="*/ 0 h 647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8945" h="647578">
                <a:moveTo>
                  <a:pt x="0" y="0"/>
                </a:moveTo>
                <a:lnTo>
                  <a:pt x="1618945" y="0"/>
                </a:lnTo>
                <a:lnTo>
                  <a:pt x="1618945" y="647578"/>
                </a:lnTo>
                <a:lnTo>
                  <a:pt x="0" y="64757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8890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>
                <a:solidFill>
                  <a:schemeClr val="bg1"/>
                </a:solidFill>
              </a:rPr>
              <a:t>Bing News Search</a:t>
            </a:r>
            <a:endParaRPr lang="en-NL" sz="2000" kern="1200">
              <a:solidFill>
                <a:schemeClr val="bg1"/>
              </a:solidFill>
            </a:endParaRPr>
          </a:p>
        </p:txBody>
      </p:sp>
      <p:sp>
        <p:nvSpPr>
          <p:cNvPr id="16" name="Rectangle 15" descr="Signature">
            <a:extLst>
              <a:ext uri="{FF2B5EF4-FFF2-40B4-BE49-F238E27FC236}">
                <a16:creationId xmlns:a16="http://schemas.microsoft.com/office/drawing/2014/main" id="{C14238F6-9AE8-4A0B-B22D-371C6106638C}"/>
              </a:ext>
            </a:extLst>
          </p:cNvPr>
          <p:cNvSpPr/>
          <p:nvPr/>
        </p:nvSpPr>
        <p:spPr>
          <a:xfrm>
            <a:off x="10553270" y="1754580"/>
            <a:ext cx="728525" cy="728525"/>
          </a:xfrm>
          <a:prstGeom prst="rect">
            <a:avLst/>
          </a:pr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909602"/>
              <a:satOff val="-52455"/>
              <a:lumOff val="5392"/>
              <a:alphaOff val="0"/>
            </a:schemeClr>
          </a:effectRef>
          <a:fontRef idx="minor">
            <a:schemeClr val="lt1"/>
          </a:fontRef>
        </p:style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F11BD59D-47EF-4C84-8AE4-E0B594DCCF6A}"/>
              </a:ext>
            </a:extLst>
          </p:cNvPr>
          <p:cNvSpPr/>
          <p:nvPr/>
        </p:nvSpPr>
        <p:spPr>
          <a:xfrm>
            <a:off x="10108060" y="2787810"/>
            <a:ext cx="1618945" cy="647578"/>
          </a:xfrm>
          <a:custGeom>
            <a:avLst/>
            <a:gdLst>
              <a:gd name="connsiteX0" fmla="*/ 0 w 1618945"/>
              <a:gd name="connsiteY0" fmla="*/ 0 h 647578"/>
              <a:gd name="connsiteX1" fmla="*/ 1618945 w 1618945"/>
              <a:gd name="connsiteY1" fmla="*/ 0 h 647578"/>
              <a:gd name="connsiteX2" fmla="*/ 1618945 w 1618945"/>
              <a:gd name="connsiteY2" fmla="*/ 647578 h 647578"/>
              <a:gd name="connsiteX3" fmla="*/ 0 w 1618945"/>
              <a:gd name="connsiteY3" fmla="*/ 647578 h 647578"/>
              <a:gd name="connsiteX4" fmla="*/ 0 w 1618945"/>
              <a:gd name="connsiteY4" fmla="*/ 0 h 647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8945" h="647578">
                <a:moveTo>
                  <a:pt x="0" y="0"/>
                </a:moveTo>
                <a:lnTo>
                  <a:pt x="1618945" y="0"/>
                </a:lnTo>
                <a:lnTo>
                  <a:pt x="1618945" y="647578"/>
                </a:lnTo>
                <a:lnTo>
                  <a:pt x="0" y="64757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8890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>
                <a:solidFill>
                  <a:schemeClr val="bg1"/>
                </a:solidFill>
              </a:rPr>
              <a:t>Bing Spell Check</a:t>
            </a:r>
            <a:endParaRPr lang="en-NL" sz="2000" kern="1200">
              <a:solidFill>
                <a:schemeClr val="bg1"/>
              </a:solidFill>
            </a:endParaRPr>
          </a:p>
        </p:txBody>
      </p:sp>
      <p:sp>
        <p:nvSpPr>
          <p:cNvPr id="18" name="Rectangle 17" descr="Clapper board">
            <a:extLst>
              <a:ext uri="{FF2B5EF4-FFF2-40B4-BE49-F238E27FC236}">
                <a16:creationId xmlns:a16="http://schemas.microsoft.com/office/drawing/2014/main" id="{18DD88EC-E575-4E5A-B4C9-1229AF32A784}"/>
              </a:ext>
            </a:extLst>
          </p:cNvPr>
          <p:cNvSpPr/>
          <p:nvPr/>
        </p:nvSpPr>
        <p:spPr>
          <a:xfrm>
            <a:off x="3895358" y="3840124"/>
            <a:ext cx="728525" cy="728525"/>
          </a:xfrm>
          <a:prstGeom prst="rect">
            <a:avLst/>
          </a:pr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1091522"/>
              <a:satOff val="-62946"/>
              <a:lumOff val="6471"/>
              <a:alphaOff val="0"/>
            </a:schemeClr>
          </a:effectRef>
          <a:fontRef idx="minor">
            <a:schemeClr val="lt1"/>
          </a:fontRef>
        </p:style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50040AC3-9377-4F19-8F87-2C1744D05D50}"/>
              </a:ext>
            </a:extLst>
          </p:cNvPr>
          <p:cNvSpPr/>
          <p:nvPr/>
        </p:nvSpPr>
        <p:spPr>
          <a:xfrm>
            <a:off x="3450148" y="4873354"/>
            <a:ext cx="1618945" cy="647578"/>
          </a:xfrm>
          <a:custGeom>
            <a:avLst/>
            <a:gdLst>
              <a:gd name="connsiteX0" fmla="*/ 0 w 1618945"/>
              <a:gd name="connsiteY0" fmla="*/ 0 h 647578"/>
              <a:gd name="connsiteX1" fmla="*/ 1618945 w 1618945"/>
              <a:gd name="connsiteY1" fmla="*/ 0 h 647578"/>
              <a:gd name="connsiteX2" fmla="*/ 1618945 w 1618945"/>
              <a:gd name="connsiteY2" fmla="*/ 647578 h 647578"/>
              <a:gd name="connsiteX3" fmla="*/ 0 w 1618945"/>
              <a:gd name="connsiteY3" fmla="*/ 647578 h 647578"/>
              <a:gd name="connsiteX4" fmla="*/ 0 w 1618945"/>
              <a:gd name="connsiteY4" fmla="*/ 0 h 647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8945" h="647578">
                <a:moveTo>
                  <a:pt x="0" y="0"/>
                </a:moveTo>
                <a:lnTo>
                  <a:pt x="1618945" y="0"/>
                </a:lnTo>
                <a:lnTo>
                  <a:pt x="1618945" y="647578"/>
                </a:lnTo>
                <a:lnTo>
                  <a:pt x="0" y="64757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8890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>
                <a:solidFill>
                  <a:schemeClr val="bg1"/>
                </a:solidFill>
              </a:rPr>
              <a:t>Bing Video Search</a:t>
            </a:r>
            <a:endParaRPr lang="en-NL" sz="2000" kern="1200">
              <a:solidFill>
                <a:schemeClr val="bg1"/>
              </a:solidFill>
            </a:endParaRPr>
          </a:p>
        </p:txBody>
      </p:sp>
      <p:sp>
        <p:nvSpPr>
          <p:cNvPr id="20" name="Rectangle 19" descr="Image">
            <a:extLst>
              <a:ext uri="{FF2B5EF4-FFF2-40B4-BE49-F238E27FC236}">
                <a16:creationId xmlns:a16="http://schemas.microsoft.com/office/drawing/2014/main" id="{C47ED254-9C1B-4288-B3D6-6768F587301B}"/>
              </a:ext>
            </a:extLst>
          </p:cNvPr>
          <p:cNvSpPr/>
          <p:nvPr/>
        </p:nvSpPr>
        <p:spPr>
          <a:xfrm>
            <a:off x="5797618" y="3868478"/>
            <a:ext cx="728525" cy="728525"/>
          </a:xfrm>
          <a:prstGeom prst="rect">
            <a:avLst/>
          </a:prstGeom>
          <a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1273443"/>
              <a:satOff val="-73437"/>
              <a:lumOff val="7549"/>
              <a:alphaOff val="0"/>
            </a:schemeClr>
          </a:effectRef>
          <a:fontRef idx="minor">
            <a:schemeClr val="lt1"/>
          </a:fontRef>
        </p:style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DEFBC109-EF8A-40E9-B6A4-1A96F231519F}"/>
              </a:ext>
            </a:extLst>
          </p:cNvPr>
          <p:cNvSpPr/>
          <p:nvPr/>
        </p:nvSpPr>
        <p:spPr>
          <a:xfrm>
            <a:off x="5352408" y="4873354"/>
            <a:ext cx="1618945" cy="647578"/>
          </a:xfrm>
          <a:custGeom>
            <a:avLst/>
            <a:gdLst>
              <a:gd name="connsiteX0" fmla="*/ 0 w 1618945"/>
              <a:gd name="connsiteY0" fmla="*/ 0 h 647578"/>
              <a:gd name="connsiteX1" fmla="*/ 1618945 w 1618945"/>
              <a:gd name="connsiteY1" fmla="*/ 0 h 647578"/>
              <a:gd name="connsiteX2" fmla="*/ 1618945 w 1618945"/>
              <a:gd name="connsiteY2" fmla="*/ 647578 h 647578"/>
              <a:gd name="connsiteX3" fmla="*/ 0 w 1618945"/>
              <a:gd name="connsiteY3" fmla="*/ 647578 h 647578"/>
              <a:gd name="connsiteX4" fmla="*/ 0 w 1618945"/>
              <a:gd name="connsiteY4" fmla="*/ 0 h 647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8945" h="647578">
                <a:moveTo>
                  <a:pt x="0" y="0"/>
                </a:moveTo>
                <a:lnTo>
                  <a:pt x="1618945" y="0"/>
                </a:lnTo>
                <a:lnTo>
                  <a:pt x="1618945" y="647578"/>
                </a:lnTo>
                <a:lnTo>
                  <a:pt x="0" y="64757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8890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>
                <a:solidFill>
                  <a:schemeClr val="bg1"/>
                </a:solidFill>
              </a:rPr>
              <a:t>Bing Visual Search</a:t>
            </a:r>
            <a:endParaRPr lang="en-NL" sz="2000" kern="1200">
              <a:solidFill>
                <a:schemeClr val="bg1"/>
              </a:solidFill>
            </a:endParaRPr>
          </a:p>
        </p:txBody>
      </p:sp>
      <p:sp>
        <p:nvSpPr>
          <p:cNvPr id="22" name="Rectangle 21" descr="Internet">
            <a:extLst>
              <a:ext uri="{FF2B5EF4-FFF2-40B4-BE49-F238E27FC236}">
                <a16:creationId xmlns:a16="http://schemas.microsoft.com/office/drawing/2014/main" id="{01CEC189-409E-46E4-8576-490BACF8B4B9}"/>
              </a:ext>
            </a:extLst>
          </p:cNvPr>
          <p:cNvSpPr/>
          <p:nvPr/>
        </p:nvSpPr>
        <p:spPr>
          <a:xfrm>
            <a:off x="7699879" y="3840124"/>
            <a:ext cx="728525" cy="728525"/>
          </a:xfrm>
          <a:prstGeom prst="rect">
            <a:avLst/>
          </a:prstGeom>
          <a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1455363"/>
              <a:satOff val="-83928"/>
              <a:lumOff val="8628"/>
              <a:alphaOff val="0"/>
            </a:schemeClr>
          </a:effectRef>
          <a:fontRef idx="minor">
            <a:schemeClr val="lt1"/>
          </a:fontRef>
        </p:style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E01B653C-6BC0-49C2-81CE-32B08B534EC9}"/>
              </a:ext>
            </a:extLst>
          </p:cNvPr>
          <p:cNvSpPr/>
          <p:nvPr/>
        </p:nvSpPr>
        <p:spPr>
          <a:xfrm>
            <a:off x="7254669" y="4873354"/>
            <a:ext cx="1618945" cy="647578"/>
          </a:xfrm>
          <a:custGeom>
            <a:avLst/>
            <a:gdLst>
              <a:gd name="connsiteX0" fmla="*/ 0 w 1618945"/>
              <a:gd name="connsiteY0" fmla="*/ 0 h 647578"/>
              <a:gd name="connsiteX1" fmla="*/ 1618945 w 1618945"/>
              <a:gd name="connsiteY1" fmla="*/ 0 h 647578"/>
              <a:gd name="connsiteX2" fmla="*/ 1618945 w 1618945"/>
              <a:gd name="connsiteY2" fmla="*/ 647578 h 647578"/>
              <a:gd name="connsiteX3" fmla="*/ 0 w 1618945"/>
              <a:gd name="connsiteY3" fmla="*/ 647578 h 647578"/>
              <a:gd name="connsiteX4" fmla="*/ 0 w 1618945"/>
              <a:gd name="connsiteY4" fmla="*/ 0 h 647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8945" h="647578">
                <a:moveTo>
                  <a:pt x="0" y="0"/>
                </a:moveTo>
                <a:lnTo>
                  <a:pt x="1618945" y="0"/>
                </a:lnTo>
                <a:lnTo>
                  <a:pt x="1618945" y="647578"/>
                </a:lnTo>
                <a:lnTo>
                  <a:pt x="0" y="64757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8890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nl-NL" sz="2000" kern="1200">
                <a:solidFill>
                  <a:schemeClr val="bg1"/>
                </a:solidFill>
              </a:rPr>
              <a:t>Bing Web Search</a:t>
            </a:r>
            <a:endParaRPr lang="en-NL" sz="2000" kern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201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000"/>
                            </p:stCondLst>
                            <p:childTnLst>
                              <p:par>
                                <p:cTn id="4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3500"/>
                            </p:stCondLst>
                            <p:childTnLst>
                              <p:par>
                                <p:cTn id="5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000"/>
                            </p:stCondLst>
                            <p:childTnLst>
                              <p:par>
                                <p:cTn id="6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9" grpId="0"/>
      <p:bldP spid="11" grpId="0"/>
      <p:bldP spid="13" grpId="0"/>
      <p:bldP spid="15" grpId="0"/>
      <p:bldP spid="17" grpId="0"/>
      <p:bldP spid="19" grpId="0"/>
      <p:bldP spid="21" grpId="0"/>
      <p:bldP spid="23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ED99FF-F113-417D-942B-93259629F8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Azure Cognitive Services?</a:t>
            </a:r>
            <a:endParaRPr lang="en-NL" dirty="0"/>
          </a:p>
        </p:txBody>
      </p:sp>
      <p:sp>
        <p:nvSpPr>
          <p:cNvPr id="12" name="Rectangle 11" descr="Checkmark">
            <a:extLst>
              <a:ext uri="{FF2B5EF4-FFF2-40B4-BE49-F238E27FC236}">
                <a16:creationId xmlns:a16="http://schemas.microsoft.com/office/drawing/2014/main" id="{6F7A0B5E-A52F-4513-810B-20B74B20DCC2}"/>
              </a:ext>
            </a:extLst>
          </p:cNvPr>
          <p:cNvSpPr/>
          <p:nvPr/>
        </p:nvSpPr>
        <p:spPr>
          <a:xfrm>
            <a:off x="1450239" y="2323243"/>
            <a:ext cx="1514456" cy="1514456"/>
          </a:xfrm>
          <a:prstGeom prst="rect">
            <a:avLst/>
          </a:prstGeo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C4133EE9-56AA-4E22-9634-AF3A61831BDB}"/>
              </a:ext>
            </a:extLst>
          </p:cNvPr>
          <p:cNvSpPr/>
          <p:nvPr/>
        </p:nvSpPr>
        <p:spPr>
          <a:xfrm>
            <a:off x="524737" y="4232269"/>
            <a:ext cx="3365458" cy="720000"/>
          </a:xfrm>
          <a:custGeom>
            <a:avLst/>
            <a:gdLst>
              <a:gd name="connsiteX0" fmla="*/ 0 w 3365458"/>
              <a:gd name="connsiteY0" fmla="*/ 0 h 720000"/>
              <a:gd name="connsiteX1" fmla="*/ 3365458 w 3365458"/>
              <a:gd name="connsiteY1" fmla="*/ 0 h 720000"/>
              <a:gd name="connsiteX2" fmla="*/ 3365458 w 3365458"/>
              <a:gd name="connsiteY2" fmla="*/ 720000 h 720000"/>
              <a:gd name="connsiteX3" fmla="*/ 0 w 3365458"/>
              <a:gd name="connsiteY3" fmla="*/ 720000 h 720000"/>
              <a:gd name="connsiteX4" fmla="*/ 0 w 3365458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5458" h="720000">
                <a:moveTo>
                  <a:pt x="0" y="0"/>
                </a:moveTo>
                <a:lnTo>
                  <a:pt x="3365458" y="0"/>
                </a:lnTo>
                <a:lnTo>
                  <a:pt x="3365458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600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600" kern="1200">
                <a:solidFill>
                  <a:schemeClr val="bg1"/>
                </a:solidFill>
              </a:rPr>
              <a:t>Easy</a:t>
            </a:r>
          </a:p>
        </p:txBody>
      </p:sp>
      <p:sp>
        <p:nvSpPr>
          <p:cNvPr id="14" name="Rectangle 13" descr="Postit Notes">
            <a:extLst>
              <a:ext uri="{FF2B5EF4-FFF2-40B4-BE49-F238E27FC236}">
                <a16:creationId xmlns:a16="http://schemas.microsoft.com/office/drawing/2014/main" id="{5F87B5A1-2811-4734-94AC-540EFDD8F28D}"/>
              </a:ext>
            </a:extLst>
          </p:cNvPr>
          <p:cNvSpPr/>
          <p:nvPr/>
        </p:nvSpPr>
        <p:spPr>
          <a:xfrm>
            <a:off x="5404653" y="2323243"/>
            <a:ext cx="1514456" cy="1514456"/>
          </a:xfrm>
          <a:prstGeom prst="rect">
            <a:avLst/>
          </a:pr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-727682"/>
              <a:satOff val="-41964"/>
              <a:lumOff val="4314"/>
              <a:alphaOff val="0"/>
            </a:schemeClr>
          </a:effectRef>
          <a:fontRef idx="minor">
            <a:schemeClr val="lt1"/>
          </a:fontRef>
        </p:style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C2B6D6E7-C573-44DA-BF7F-9BA8A2003BF8}"/>
              </a:ext>
            </a:extLst>
          </p:cNvPr>
          <p:cNvSpPr/>
          <p:nvPr/>
        </p:nvSpPr>
        <p:spPr>
          <a:xfrm>
            <a:off x="4479152" y="4232269"/>
            <a:ext cx="3365458" cy="720000"/>
          </a:xfrm>
          <a:custGeom>
            <a:avLst/>
            <a:gdLst>
              <a:gd name="connsiteX0" fmla="*/ 0 w 3365458"/>
              <a:gd name="connsiteY0" fmla="*/ 0 h 720000"/>
              <a:gd name="connsiteX1" fmla="*/ 3365458 w 3365458"/>
              <a:gd name="connsiteY1" fmla="*/ 0 h 720000"/>
              <a:gd name="connsiteX2" fmla="*/ 3365458 w 3365458"/>
              <a:gd name="connsiteY2" fmla="*/ 720000 h 720000"/>
              <a:gd name="connsiteX3" fmla="*/ 0 w 3365458"/>
              <a:gd name="connsiteY3" fmla="*/ 720000 h 720000"/>
              <a:gd name="connsiteX4" fmla="*/ 0 w 3365458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5458" h="720000">
                <a:moveTo>
                  <a:pt x="0" y="0"/>
                </a:moveTo>
                <a:lnTo>
                  <a:pt x="3365458" y="0"/>
                </a:lnTo>
                <a:lnTo>
                  <a:pt x="3365458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600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600" kern="1200">
                <a:solidFill>
                  <a:schemeClr val="bg1"/>
                </a:solidFill>
              </a:rPr>
              <a:t>Flexible</a:t>
            </a:r>
          </a:p>
        </p:txBody>
      </p:sp>
      <p:sp>
        <p:nvSpPr>
          <p:cNvPr id="16" name="Rectangle 15" descr="Presentation with Checklist">
            <a:extLst>
              <a:ext uri="{FF2B5EF4-FFF2-40B4-BE49-F238E27FC236}">
                <a16:creationId xmlns:a16="http://schemas.microsoft.com/office/drawing/2014/main" id="{5D28AAE7-836B-4EB9-85C6-93BA19A93CC0}"/>
              </a:ext>
            </a:extLst>
          </p:cNvPr>
          <p:cNvSpPr/>
          <p:nvPr/>
        </p:nvSpPr>
        <p:spPr>
          <a:xfrm>
            <a:off x="9359067" y="2323243"/>
            <a:ext cx="1514456" cy="1514456"/>
          </a:xfrm>
          <a:prstGeom prst="rect">
            <a:avLst/>
          </a:prstGeom>
          <a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-1455363"/>
              <a:satOff val="-83928"/>
              <a:lumOff val="8628"/>
              <a:alphaOff val="0"/>
            </a:schemeClr>
          </a:effectRef>
          <a:fontRef idx="minor">
            <a:schemeClr val="lt1"/>
          </a:fontRef>
        </p:style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183465E-5DBA-49A2-A89C-BBC8DCE8D138}"/>
              </a:ext>
            </a:extLst>
          </p:cNvPr>
          <p:cNvSpPr/>
          <p:nvPr/>
        </p:nvSpPr>
        <p:spPr>
          <a:xfrm>
            <a:off x="8433566" y="4232269"/>
            <a:ext cx="3365458" cy="720000"/>
          </a:xfrm>
          <a:custGeom>
            <a:avLst/>
            <a:gdLst>
              <a:gd name="connsiteX0" fmla="*/ 0 w 3365458"/>
              <a:gd name="connsiteY0" fmla="*/ 0 h 720000"/>
              <a:gd name="connsiteX1" fmla="*/ 3365458 w 3365458"/>
              <a:gd name="connsiteY1" fmla="*/ 0 h 720000"/>
              <a:gd name="connsiteX2" fmla="*/ 3365458 w 3365458"/>
              <a:gd name="connsiteY2" fmla="*/ 720000 h 720000"/>
              <a:gd name="connsiteX3" fmla="*/ 0 w 3365458"/>
              <a:gd name="connsiteY3" fmla="*/ 720000 h 720000"/>
              <a:gd name="connsiteX4" fmla="*/ 0 w 3365458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5458" h="720000">
                <a:moveTo>
                  <a:pt x="0" y="0"/>
                </a:moveTo>
                <a:lnTo>
                  <a:pt x="3365458" y="0"/>
                </a:lnTo>
                <a:lnTo>
                  <a:pt x="3365458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600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600" kern="1200">
                <a:solidFill>
                  <a:schemeClr val="bg1"/>
                </a:solidFill>
              </a:rPr>
              <a:t>Tested</a:t>
            </a:r>
          </a:p>
        </p:txBody>
      </p:sp>
    </p:spTree>
    <p:extLst>
      <p:ext uri="{BB962C8B-B14F-4D97-AF65-F5344CB8AC3E}">
        <p14:creationId xmlns:p14="http://schemas.microsoft.com/office/powerpoint/2010/main" val="337079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indefinit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1" dur="indefinite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4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indefinite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5" dur="indefinite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8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3" grpId="1"/>
      <p:bldP spid="15" grpId="0"/>
      <p:bldP spid="15" grpId="1"/>
      <p:bldP spid="17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 dpi="0" rotWithShape="1">
          <a:blip r:embed="rId3">
            <a:lum/>
          </a:blip>
          <a:srcRect/>
          <a:stretch>
            <a:fillRect t="-27000" b="-2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69ADE5B-55E9-485D-8E7E-BB3EA9D2B06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1928" y="6310865"/>
            <a:ext cx="2010599" cy="398877"/>
          </a:xfrm>
          <a:prstGeom prst="rect">
            <a:avLst/>
          </a:prstGeom>
        </p:spPr>
      </p:pic>
      <p:sp>
        <p:nvSpPr>
          <p:cNvPr id="7" name="Title 2"/>
          <p:cNvSpPr>
            <a:spLocks noGrp="1"/>
          </p:cNvSpPr>
          <p:nvPr>
            <p:ph type="ctrTitle"/>
          </p:nvPr>
        </p:nvSpPr>
        <p:spPr>
          <a:xfrm>
            <a:off x="1792770" y="148258"/>
            <a:ext cx="9142703" cy="1682092"/>
          </a:xfrm>
        </p:spPr>
        <p:txBody>
          <a:bodyPr/>
          <a:lstStyle/>
          <a:p>
            <a:r>
              <a:rPr kumimoji="0" lang="en-US" sz="4800" b="0" i="0" u="none" strike="noStrike" kern="1200" cap="none" spc="-100" normalizeH="0" baseline="0" noProof="0" dirty="0">
                <a:ln w="3175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</a:rPr>
              <a:t>Building Smarter Solutions </a:t>
            </a:r>
            <a:br>
              <a:rPr kumimoji="0" lang="en-US" sz="5400" b="0" i="0" u="none" strike="noStrike" kern="1200" cap="none" spc="-100" normalizeH="0" baseline="0" noProof="0" dirty="0">
                <a:ln w="3175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</a:rPr>
            </a:br>
            <a:r>
              <a:rPr kumimoji="0" lang="en-US" sz="3600" b="0" i="0" u="none" strike="noStrike" kern="1200" cap="none" spc="-100" normalizeH="0" baseline="0" noProof="0" dirty="0">
                <a:ln w="3175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</a:rPr>
              <a:t>Using Azure and Cognitive Services</a:t>
            </a:r>
            <a:endParaRPr lang="nl-NL" sz="5400" dirty="0"/>
          </a:p>
        </p:txBody>
      </p:sp>
      <p:sp>
        <p:nvSpPr>
          <p:cNvPr id="8" name="Text Placeholder 4"/>
          <p:cNvSpPr>
            <a:spLocks noGrp="1"/>
          </p:cNvSpPr>
          <p:nvPr>
            <p:ph type="subTitle" idx="1"/>
          </p:nvPr>
        </p:nvSpPr>
        <p:spPr>
          <a:xfrm>
            <a:off x="1524648" y="2172067"/>
            <a:ext cx="9142703" cy="641714"/>
          </a:xfrm>
        </p:spPr>
        <p:txBody>
          <a:bodyPr/>
          <a:lstStyle/>
          <a:p>
            <a:r>
              <a:rPr lang="en-US" sz="3300" b="1" i="1" dirty="0">
                <a:latin typeface="Segoe UI Light"/>
              </a:rPr>
              <a:t>Eldert Grootenboer</a:t>
            </a:r>
          </a:p>
        </p:txBody>
      </p:sp>
    </p:spTree>
    <p:extLst>
      <p:ext uri="{BB962C8B-B14F-4D97-AF65-F5344CB8AC3E}">
        <p14:creationId xmlns:p14="http://schemas.microsoft.com/office/powerpoint/2010/main" val="27437497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8995E2D-6A0A-4993-8FAD-FCAF6B22E9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ts</a:t>
            </a:r>
            <a:endParaRPr lang="en-NL" dirty="0"/>
          </a:p>
        </p:txBody>
      </p:sp>
      <p:pic>
        <p:nvPicPr>
          <p:cNvPr id="4098" name="Picture 2" descr="Funny, Robot, Think, Thinking">
            <a:extLst>
              <a:ext uri="{FF2B5EF4-FFF2-40B4-BE49-F238E27FC236}">
                <a16:creationId xmlns:a16="http://schemas.microsoft.com/office/drawing/2014/main" id="{2501986F-F284-4E7C-BBAD-C7A424E8C3C7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5553" y="987425"/>
            <a:ext cx="4907469" cy="4873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7049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 descr="Robot">
            <a:extLst>
              <a:ext uri="{FF2B5EF4-FFF2-40B4-BE49-F238E27FC236}">
                <a16:creationId xmlns:a16="http://schemas.microsoft.com/office/drawing/2014/main" id="{03A21E8F-46A4-47AB-8B68-C34E13FD5AB0}"/>
              </a:ext>
            </a:extLst>
          </p:cNvPr>
          <p:cNvSpPr/>
          <p:nvPr/>
        </p:nvSpPr>
        <p:spPr>
          <a:xfrm>
            <a:off x="1450239" y="2323243"/>
            <a:ext cx="1514456" cy="1514456"/>
          </a:xfrm>
          <a:prstGeom prst="rect">
            <a:avLst/>
          </a:prstGeo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1455363"/>
              <a:satOff val="-83928"/>
              <a:lumOff val="8628"/>
              <a:alphaOff val="0"/>
            </a:schemeClr>
          </a:effectRef>
          <a:fontRef idx="minor">
            <a:schemeClr val="lt1"/>
          </a:fontRef>
        </p:style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6E984502-7E00-44B0-8949-143B292DD057}"/>
              </a:ext>
            </a:extLst>
          </p:cNvPr>
          <p:cNvSpPr/>
          <p:nvPr/>
        </p:nvSpPr>
        <p:spPr>
          <a:xfrm>
            <a:off x="524738" y="4232269"/>
            <a:ext cx="3365458" cy="720000"/>
          </a:xfrm>
          <a:custGeom>
            <a:avLst/>
            <a:gdLst>
              <a:gd name="connsiteX0" fmla="*/ 0 w 3365458"/>
              <a:gd name="connsiteY0" fmla="*/ 0 h 720000"/>
              <a:gd name="connsiteX1" fmla="*/ 3365458 w 3365458"/>
              <a:gd name="connsiteY1" fmla="*/ 0 h 720000"/>
              <a:gd name="connsiteX2" fmla="*/ 3365458 w 3365458"/>
              <a:gd name="connsiteY2" fmla="*/ 720000 h 720000"/>
              <a:gd name="connsiteX3" fmla="*/ 0 w 3365458"/>
              <a:gd name="connsiteY3" fmla="*/ 720000 h 720000"/>
              <a:gd name="connsiteX4" fmla="*/ 0 w 3365458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5458" h="720000">
                <a:moveTo>
                  <a:pt x="0" y="0"/>
                </a:moveTo>
                <a:lnTo>
                  <a:pt x="3365458" y="0"/>
                </a:lnTo>
                <a:lnTo>
                  <a:pt x="3365458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37795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100" kern="1200">
                <a:solidFill>
                  <a:schemeClr val="bg1"/>
                </a:solidFill>
              </a:rPr>
              <a:t>Power Virtual Agents</a:t>
            </a:r>
            <a:endParaRPr lang="en-NL" sz="3100" kern="1200" dirty="0">
              <a:solidFill>
                <a:schemeClr val="bg1"/>
              </a:solidFill>
            </a:endParaRPr>
          </a:p>
        </p:txBody>
      </p:sp>
      <p:sp>
        <p:nvSpPr>
          <p:cNvPr id="12" name="Rectangle 11" descr="Tools">
            <a:extLst>
              <a:ext uri="{FF2B5EF4-FFF2-40B4-BE49-F238E27FC236}">
                <a16:creationId xmlns:a16="http://schemas.microsoft.com/office/drawing/2014/main" id="{2D4E67BA-1CED-41D1-96EB-CDCF8E237570}"/>
              </a:ext>
            </a:extLst>
          </p:cNvPr>
          <p:cNvSpPr/>
          <p:nvPr/>
        </p:nvSpPr>
        <p:spPr>
          <a:xfrm>
            <a:off x="9359067" y="2323243"/>
            <a:ext cx="1514456" cy="1514456"/>
          </a:xfrm>
          <a:prstGeom prst="rect">
            <a:avLst/>
          </a:pr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0797293A-3B87-454F-A96C-8B976A7916B4}"/>
              </a:ext>
            </a:extLst>
          </p:cNvPr>
          <p:cNvSpPr/>
          <p:nvPr/>
        </p:nvSpPr>
        <p:spPr>
          <a:xfrm>
            <a:off x="8433565" y="4232269"/>
            <a:ext cx="3365458" cy="720000"/>
          </a:xfrm>
          <a:custGeom>
            <a:avLst/>
            <a:gdLst>
              <a:gd name="connsiteX0" fmla="*/ 0 w 3365458"/>
              <a:gd name="connsiteY0" fmla="*/ 0 h 720000"/>
              <a:gd name="connsiteX1" fmla="*/ 3365458 w 3365458"/>
              <a:gd name="connsiteY1" fmla="*/ 0 h 720000"/>
              <a:gd name="connsiteX2" fmla="*/ 3365458 w 3365458"/>
              <a:gd name="connsiteY2" fmla="*/ 720000 h 720000"/>
              <a:gd name="connsiteX3" fmla="*/ 0 w 3365458"/>
              <a:gd name="connsiteY3" fmla="*/ 720000 h 720000"/>
              <a:gd name="connsiteX4" fmla="*/ 0 w 3365458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5458" h="720000">
                <a:moveTo>
                  <a:pt x="0" y="0"/>
                </a:moveTo>
                <a:lnTo>
                  <a:pt x="3365458" y="0"/>
                </a:lnTo>
                <a:lnTo>
                  <a:pt x="3365458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37795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nl-NL" sz="3100" kern="1200">
                <a:solidFill>
                  <a:schemeClr val="bg1"/>
                </a:solidFill>
              </a:rPr>
              <a:t>Azure Bot Service</a:t>
            </a:r>
            <a:endParaRPr lang="en-US" sz="3100" kern="12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D1ACA5-C2AE-4391-9722-57FF01465F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ing your bot</a:t>
            </a:r>
            <a:endParaRPr lang="en-NL" dirty="0"/>
          </a:p>
        </p:txBody>
      </p:sp>
      <p:sp>
        <p:nvSpPr>
          <p:cNvPr id="8" name="Rectangle 7" descr="Bucket and shovel">
            <a:extLst>
              <a:ext uri="{FF2B5EF4-FFF2-40B4-BE49-F238E27FC236}">
                <a16:creationId xmlns:a16="http://schemas.microsoft.com/office/drawing/2014/main" id="{56CB8E0C-1DE8-443C-83AE-BC49DCD79FC1}"/>
              </a:ext>
            </a:extLst>
          </p:cNvPr>
          <p:cNvSpPr/>
          <p:nvPr/>
        </p:nvSpPr>
        <p:spPr>
          <a:xfrm>
            <a:off x="5404653" y="2323243"/>
            <a:ext cx="1514456" cy="1514456"/>
          </a:xfrm>
          <a:prstGeom prst="rect">
            <a:avLst/>
          </a:prstGeom>
          <a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-727682"/>
              <a:satOff val="-41964"/>
              <a:lumOff val="4314"/>
              <a:alphaOff val="0"/>
            </a:schemeClr>
          </a:effectRef>
          <a:fontRef idx="minor">
            <a:schemeClr val="lt1"/>
          </a:fontRef>
        </p:style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A93517CC-FD32-47CC-8B0C-B29C505DBE64}"/>
              </a:ext>
            </a:extLst>
          </p:cNvPr>
          <p:cNvSpPr/>
          <p:nvPr/>
        </p:nvSpPr>
        <p:spPr>
          <a:xfrm>
            <a:off x="4479152" y="4232269"/>
            <a:ext cx="3365458" cy="720000"/>
          </a:xfrm>
          <a:custGeom>
            <a:avLst/>
            <a:gdLst>
              <a:gd name="connsiteX0" fmla="*/ 0 w 3365458"/>
              <a:gd name="connsiteY0" fmla="*/ 0 h 720000"/>
              <a:gd name="connsiteX1" fmla="*/ 3365458 w 3365458"/>
              <a:gd name="connsiteY1" fmla="*/ 0 h 720000"/>
              <a:gd name="connsiteX2" fmla="*/ 3365458 w 3365458"/>
              <a:gd name="connsiteY2" fmla="*/ 720000 h 720000"/>
              <a:gd name="connsiteX3" fmla="*/ 0 w 3365458"/>
              <a:gd name="connsiteY3" fmla="*/ 720000 h 720000"/>
              <a:gd name="connsiteX4" fmla="*/ 0 w 3365458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5458" h="720000">
                <a:moveTo>
                  <a:pt x="0" y="0"/>
                </a:moveTo>
                <a:lnTo>
                  <a:pt x="3365458" y="0"/>
                </a:lnTo>
                <a:lnTo>
                  <a:pt x="3365458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37795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nl-NL" sz="3100" kern="1200">
                <a:solidFill>
                  <a:schemeClr val="bg1"/>
                </a:solidFill>
              </a:rPr>
              <a:t>AtBot</a:t>
            </a:r>
            <a:endParaRPr lang="nl-NL" sz="3100" kern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9401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1" dur="indefinite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indefinite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4" dur="indefinite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indefinite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5" dur="indefinite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8" dur="indefinite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1" grpId="1"/>
      <p:bldP spid="13" grpId="0"/>
      <p:bldP spid="9" grpId="0"/>
      <p:bldP spid="9" grpId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F935DC8-B243-4F76-8158-E84DEC733B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Bot Service</a:t>
            </a:r>
            <a:endParaRPr lang="en-NL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DAF66EE-5050-4FCB-AFCA-1C9D005C62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marR="0" lvl="0" indent="0" algn="l" defTabSz="932742" rtl="0" eaLnBrk="1" fontAlgn="b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owerful and extendable</a:t>
            </a:r>
          </a:p>
          <a:p>
            <a:pPr marL="0" marR="0" lvl="0" indent="0" algn="l" defTabSz="932742" rtl="0" eaLnBrk="1" fontAlgn="b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ntegration with cognitive services</a:t>
            </a: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Multiple channel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BF966A-78F7-4FDD-B542-82735A9887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5844" y="2682336"/>
            <a:ext cx="3607350" cy="4175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5254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indefinite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5" dur="indefinite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indefinite"/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3" dur="indefinite"/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uiExpand="1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0FAE6A-A55E-4B7A-B9B9-942A5706D7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 time!</a:t>
            </a:r>
            <a:endParaRPr lang="en-NL" dirty="0"/>
          </a:p>
        </p:txBody>
      </p:sp>
      <p:pic>
        <p:nvPicPr>
          <p:cNvPr id="5122" name="Picture 2" descr="Presentation, Statistic, Boy, Character, Man, Male">
            <a:extLst>
              <a:ext uri="{FF2B5EF4-FFF2-40B4-BE49-F238E27FC236}">
                <a16:creationId xmlns:a16="http://schemas.microsoft.com/office/drawing/2014/main" id="{CD0BAF99-86BD-4DD7-8940-657D51CCB872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3188" y="1180386"/>
            <a:ext cx="6172200" cy="4487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137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2">
            <a:extLst>
              <a:ext uri="{FF2B5EF4-FFF2-40B4-BE49-F238E27FC236}">
                <a16:creationId xmlns:a16="http://schemas.microsoft.com/office/drawing/2014/main" id="{71B2258F-86CA-4D4D-8270-BC05FCDEBF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4" descr="Oil Storage Tank, Crude Oil, Oil Terminal, Tank Farm">
            <a:extLst>
              <a:ext uri="{FF2B5EF4-FFF2-40B4-BE49-F238E27FC236}">
                <a16:creationId xmlns:a16="http://schemas.microsoft.com/office/drawing/2014/main" id="{2AA07663-0FA6-4187-9912-7057241D2A4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49" r="9816" b="-1"/>
          <a:stretch/>
        </p:blipFill>
        <p:spPr bwMode="auto">
          <a:xfrm>
            <a:off x="20" y="1"/>
            <a:ext cx="12191980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F6BBF584-2D4E-4A9C-B63A-CB21BC6B9D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0" y="1122362"/>
            <a:ext cx="9144000" cy="2900518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6000">
                <a:solidFill>
                  <a:srgbClr val="FFFFFF"/>
                </a:solidFill>
              </a:rPr>
              <a:t>Scenario</a:t>
            </a:r>
          </a:p>
        </p:txBody>
      </p:sp>
    </p:spTree>
    <p:extLst>
      <p:ext uri="{BB962C8B-B14F-4D97-AF65-F5344CB8AC3E}">
        <p14:creationId xmlns:p14="http://schemas.microsoft.com/office/powerpoint/2010/main" val="17405251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4">
            <a:extLst>
              <a:ext uri="{FF2B5EF4-FFF2-40B4-BE49-F238E27FC236}">
                <a16:creationId xmlns:a16="http://schemas.microsoft.com/office/drawing/2014/main" id="{27BDFED6-6E33-4606-AFE2-886ADB1C01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6" descr="INAUGURATION OF LNG DRIVEN VESSEL SOMTRANS LNG – LNG Binnenvaart">
            <a:extLst>
              <a:ext uri="{FF2B5EF4-FFF2-40B4-BE49-F238E27FC236}">
                <a16:creationId xmlns:a16="http://schemas.microsoft.com/office/drawing/2014/main" id="{825BF748-67D5-4237-A24A-EDAB00DB0AE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50" b="2"/>
          <a:stretch/>
        </p:blipFill>
        <p:spPr bwMode="auto">
          <a:xfrm>
            <a:off x="4547937" y="-5"/>
            <a:ext cx="7644062" cy="36814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Oil Storage Tank, Crude Oil, Oil Terminal, Tank Farm">
            <a:extLst>
              <a:ext uri="{FF2B5EF4-FFF2-40B4-BE49-F238E27FC236}">
                <a16:creationId xmlns:a16="http://schemas.microsoft.com/office/drawing/2014/main" id="{1044A27B-D34E-4CED-ACF5-49B6951B54B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66" r="-1" b="-1"/>
          <a:stretch/>
        </p:blipFill>
        <p:spPr bwMode="auto">
          <a:xfrm>
            <a:off x="4547938" y="3681409"/>
            <a:ext cx="7644062" cy="3176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890DEF05-784E-4B61-89E4-04C4ECF4E5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36000">
                <a:schemeClr val="tx1">
                  <a:lumMod val="95000"/>
                  <a:lumOff val="5000"/>
                </a:schemeClr>
              </a:gs>
              <a:gs pos="81000">
                <a:schemeClr val="tx1">
                  <a:lumMod val="95000"/>
                  <a:lumOff val="5000"/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477476A-A04A-4711-9154-FCFF09001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115219"/>
            <a:ext cx="5395912" cy="2387600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5000" kern="1200">
                <a:latin typeface="+mj-lt"/>
                <a:ea typeface="+mj-ea"/>
                <a:cs typeface="+mj-cs"/>
              </a:rPr>
              <a:t>Scenario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C41BAEC7-F7B0-4224-8B18-8F74B7D87F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838200" y="3681408"/>
            <a:ext cx="11353799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04569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Oil Storage Tank, Crude Oil, Oil Terminal, Tank Farm">
            <a:extLst>
              <a:ext uri="{FF2B5EF4-FFF2-40B4-BE49-F238E27FC236}">
                <a16:creationId xmlns:a16="http://schemas.microsoft.com/office/drawing/2014/main" id="{5148A855-C4A5-4CD5-8142-6C5473B9872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37" r="9805" b="-1"/>
          <a:stretch/>
        </p:blipFill>
        <p:spPr bwMode="auto">
          <a:xfrm>
            <a:off x="-1" y="-7"/>
            <a:ext cx="12192000" cy="6855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1F61FA7-CA8E-4F09-AD70-24289EAF65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2445" y="3794336"/>
            <a:ext cx="5319433" cy="1922251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48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Scenario</a:t>
            </a:r>
          </a:p>
        </p:txBody>
      </p:sp>
      <p:sp>
        <p:nvSpPr>
          <p:cNvPr id="12" name="Freeform: Shape 12">
            <a:extLst>
              <a:ext uri="{FF2B5EF4-FFF2-40B4-BE49-F238E27FC236}">
                <a16:creationId xmlns:a16="http://schemas.microsoft.com/office/drawing/2014/main" id="{B26D9126-4D1A-435C-92FD-2EFD34104B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483466"/>
            <a:ext cx="5444264" cy="6374535"/>
          </a:xfrm>
          <a:custGeom>
            <a:avLst/>
            <a:gdLst>
              <a:gd name="connsiteX0" fmla="*/ 2098246 w 5444264"/>
              <a:gd name="connsiteY0" fmla="*/ 0 h 6374535"/>
              <a:gd name="connsiteX1" fmla="*/ 5444264 w 5444264"/>
              <a:gd name="connsiteY1" fmla="*/ 3346018 h 6374535"/>
              <a:gd name="connsiteX2" fmla="*/ 3693157 w 5444264"/>
              <a:gd name="connsiteY2" fmla="*/ 6288190 h 6374535"/>
              <a:gd name="connsiteX3" fmla="*/ 3513916 w 5444264"/>
              <a:gd name="connsiteY3" fmla="*/ 6374535 h 6374535"/>
              <a:gd name="connsiteX4" fmla="*/ 674773 w 5444264"/>
              <a:gd name="connsiteY4" fmla="*/ 6374535 h 6374535"/>
              <a:gd name="connsiteX5" fmla="*/ 432743 w 5444264"/>
              <a:gd name="connsiteY5" fmla="*/ 6248727 h 6374535"/>
              <a:gd name="connsiteX6" fmla="*/ 194223 w 5444264"/>
              <a:gd name="connsiteY6" fmla="*/ 6097845 h 6374535"/>
              <a:gd name="connsiteX7" fmla="*/ 0 w 5444264"/>
              <a:gd name="connsiteY7" fmla="*/ 5950784 h 6374535"/>
              <a:gd name="connsiteX8" fmla="*/ 0 w 5444264"/>
              <a:gd name="connsiteY8" fmla="*/ 741253 h 6374535"/>
              <a:gd name="connsiteX9" fmla="*/ 194222 w 5444264"/>
              <a:gd name="connsiteY9" fmla="*/ 594191 h 6374535"/>
              <a:gd name="connsiteX10" fmla="*/ 2098246 w 5444264"/>
              <a:gd name="connsiteY10" fmla="*/ 0 h 6374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44264" h="6374535">
                <a:moveTo>
                  <a:pt x="2098246" y="0"/>
                </a:moveTo>
                <a:cubicBezTo>
                  <a:pt x="3946201" y="0"/>
                  <a:pt x="5444264" y="1498063"/>
                  <a:pt x="5444264" y="3346018"/>
                </a:cubicBezTo>
                <a:cubicBezTo>
                  <a:pt x="5444264" y="4616487"/>
                  <a:pt x="4736195" y="5721578"/>
                  <a:pt x="3693157" y="6288190"/>
                </a:cubicBezTo>
                <a:lnTo>
                  <a:pt x="3513916" y="6374535"/>
                </a:lnTo>
                <a:lnTo>
                  <a:pt x="674773" y="6374535"/>
                </a:lnTo>
                <a:lnTo>
                  <a:pt x="432743" y="6248727"/>
                </a:lnTo>
                <a:cubicBezTo>
                  <a:pt x="351001" y="6201724"/>
                  <a:pt x="271431" y="6151368"/>
                  <a:pt x="194223" y="6097845"/>
                </a:cubicBezTo>
                <a:lnTo>
                  <a:pt x="0" y="5950784"/>
                </a:lnTo>
                <a:lnTo>
                  <a:pt x="0" y="741253"/>
                </a:lnTo>
                <a:lnTo>
                  <a:pt x="194222" y="594191"/>
                </a:lnTo>
                <a:cubicBezTo>
                  <a:pt x="734681" y="219535"/>
                  <a:pt x="1390826" y="0"/>
                  <a:pt x="2098246" y="0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54CA853-59E8-4245-B838-ADB3B338668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2018" r="15047" b="1"/>
          <a:stretch/>
        </p:blipFill>
        <p:spPr>
          <a:xfrm>
            <a:off x="20" y="647373"/>
            <a:ext cx="5280336" cy="6210629"/>
          </a:xfrm>
          <a:custGeom>
            <a:avLst/>
            <a:gdLst/>
            <a:ahLst/>
            <a:cxnLst/>
            <a:rect l="l" t="t" r="r" b="b"/>
            <a:pathLst>
              <a:path w="5280356" h="6210629">
                <a:moveTo>
                  <a:pt x="2098244" y="0"/>
                </a:moveTo>
                <a:cubicBezTo>
                  <a:pt x="3855676" y="0"/>
                  <a:pt x="5280356" y="1424680"/>
                  <a:pt x="5280356" y="3182112"/>
                </a:cubicBezTo>
                <a:cubicBezTo>
                  <a:pt x="5280356" y="4500186"/>
                  <a:pt x="4478974" y="5631087"/>
                  <a:pt x="3336866" y="6114158"/>
                </a:cubicBezTo>
                <a:lnTo>
                  <a:pt x="3073287" y="6210629"/>
                </a:lnTo>
                <a:lnTo>
                  <a:pt x="1128432" y="6210629"/>
                </a:lnTo>
                <a:lnTo>
                  <a:pt x="1004127" y="6171135"/>
                </a:lnTo>
                <a:cubicBezTo>
                  <a:pt x="662964" y="6046219"/>
                  <a:pt x="349154" y="5864559"/>
                  <a:pt x="74125" y="5637585"/>
                </a:cubicBezTo>
                <a:lnTo>
                  <a:pt x="0" y="5570216"/>
                </a:lnTo>
                <a:lnTo>
                  <a:pt x="0" y="794009"/>
                </a:lnTo>
                <a:lnTo>
                  <a:pt x="74125" y="726640"/>
                </a:lnTo>
                <a:cubicBezTo>
                  <a:pt x="624182" y="272693"/>
                  <a:pt x="1329368" y="0"/>
                  <a:pt x="2098244" y="0"/>
                </a:cubicBezTo>
                <a:close/>
              </a:path>
            </a:pathLst>
          </a:custGeom>
        </p:spPr>
      </p:pic>
      <p:sp>
        <p:nvSpPr>
          <p:cNvPr id="14" name="Freeform: Shape 14">
            <a:extLst>
              <a:ext uri="{FF2B5EF4-FFF2-40B4-BE49-F238E27FC236}">
                <a16:creationId xmlns:a16="http://schemas.microsoft.com/office/drawing/2014/main" id="{8A177BCC-4208-4795-8572-4D623BA1E2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341832" y="1"/>
            <a:ext cx="4480560" cy="2513993"/>
          </a:xfrm>
          <a:custGeom>
            <a:avLst/>
            <a:gdLst>
              <a:gd name="connsiteX0" fmla="*/ 18382 w 4480560"/>
              <a:gd name="connsiteY0" fmla="*/ 0 h 2513993"/>
              <a:gd name="connsiteX1" fmla="*/ 4462178 w 4480560"/>
              <a:gd name="connsiteY1" fmla="*/ 0 h 2513993"/>
              <a:gd name="connsiteX2" fmla="*/ 4468994 w 4480560"/>
              <a:gd name="connsiteY2" fmla="*/ 44657 h 2513993"/>
              <a:gd name="connsiteX3" fmla="*/ 4480560 w 4480560"/>
              <a:gd name="connsiteY3" fmla="*/ 273713 h 2513993"/>
              <a:gd name="connsiteX4" fmla="*/ 2240280 w 4480560"/>
              <a:gd name="connsiteY4" fmla="*/ 2513993 h 2513993"/>
              <a:gd name="connsiteX5" fmla="*/ 0 w 4480560"/>
              <a:gd name="connsiteY5" fmla="*/ 273713 h 2513993"/>
              <a:gd name="connsiteX6" fmla="*/ 11567 w 4480560"/>
              <a:gd name="connsiteY6" fmla="*/ 44657 h 25139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80560" h="2513993">
                <a:moveTo>
                  <a:pt x="18382" y="0"/>
                </a:moveTo>
                <a:lnTo>
                  <a:pt x="4462178" y="0"/>
                </a:lnTo>
                <a:lnTo>
                  <a:pt x="4468994" y="44657"/>
                </a:lnTo>
                <a:cubicBezTo>
                  <a:pt x="4476642" y="119969"/>
                  <a:pt x="4480560" y="196384"/>
                  <a:pt x="4480560" y="273713"/>
                </a:cubicBezTo>
                <a:cubicBezTo>
                  <a:pt x="4480560" y="1510985"/>
                  <a:pt x="3477552" y="2513993"/>
                  <a:pt x="2240280" y="2513993"/>
                </a:cubicBezTo>
                <a:cubicBezTo>
                  <a:pt x="1003008" y="2513993"/>
                  <a:pt x="0" y="1510985"/>
                  <a:pt x="0" y="273713"/>
                </a:cubicBezTo>
                <a:cubicBezTo>
                  <a:pt x="0" y="196384"/>
                  <a:pt x="3918" y="119969"/>
                  <a:pt x="11567" y="44657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6" descr="INAUGURATION OF LNG DRIVEN VESSEL SOMTRANS LNG – LNG Binnenvaart">
            <a:extLst>
              <a:ext uri="{FF2B5EF4-FFF2-40B4-BE49-F238E27FC236}">
                <a16:creationId xmlns:a16="http://schemas.microsoft.com/office/drawing/2014/main" id="{D69867C0-E5C5-4FFB-B907-B511F4A1E60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834" b="-1"/>
          <a:stretch/>
        </p:blipFill>
        <p:spPr bwMode="auto">
          <a:xfrm>
            <a:off x="5506424" y="8"/>
            <a:ext cx="4151376" cy="2349401"/>
          </a:xfrm>
          <a:custGeom>
            <a:avLst/>
            <a:gdLst/>
            <a:ahLst/>
            <a:cxnLst/>
            <a:rect l="l" t="t" r="r" b="b"/>
            <a:pathLst>
              <a:path w="4151376" h="2349401">
                <a:moveTo>
                  <a:pt x="20101" y="0"/>
                </a:moveTo>
                <a:lnTo>
                  <a:pt x="4131276" y="0"/>
                </a:lnTo>
                <a:lnTo>
                  <a:pt x="4140659" y="61486"/>
                </a:lnTo>
                <a:cubicBezTo>
                  <a:pt x="4147746" y="131265"/>
                  <a:pt x="4151376" y="202065"/>
                  <a:pt x="4151376" y="273713"/>
                </a:cubicBezTo>
                <a:cubicBezTo>
                  <a:pt x="4151376" y="1420084"/>
                  <a:pt x="3222059" y="2349401"/>
                  <a:pt x="2075688" y="2349401"/>
                </a:cubicBezTo>
                <a:cubicBezTo>
                  <a:pt x="929317" y="2349401"/>
                  <a:pt x="0" y="1420084"/>
                  <a:pt x="0" y="273713"/>
                </a:cubicBezTo>
                <a:cubicBezTo>
                  <a:pt x="0" y="202065"/>
                  <a:pt x="3630" y="131265"/>
                  <a:pt x="10717" y="61486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26538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 descr="Envelope">
            <a:extLst>
              <a:ext uri="{FF2B5EF4-FFF2-40B4-BE49-F238E27FC236}">
                <a16:creationId xmlns:a16="http://schemas.microsoft.com/office/drawing/2014/main" id="{71C0BDAF-EE5D-4930-A2CD-12D6F5C41003}"/>
              </a:ext>
            </a:extLst>
          </p:cNvPr>
          <p:cNvSpPr/>
          <p:nvPr/>
        </p:nvSpPr>
        <p:spPr>
          <a:xfrm>
            <a:off x="6580862" y="3099296"/>
            <a:ext cx="530372" cy="530372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5">
              <a:hueOff val="-3379271"/>
              <a:satOff val="-8710"/>
              <a:lumOff val="-5883"/>
              <a:alphaOff val="0"/>
            </a:schemeClr>
          </a:effectRef>
          <a:fontRef idx="minor">
            <a:schemeClr val="lt1"/>
          </a:fontRef>
        </p:style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64920289-0264-4F93-900A-6D6B6AF2BE55}"/>
              </a:ext>
            </a:extLst>
          </p:cNvPr>
          <p:cNvSpPr/>
          <p:nvPr/>
        </p:nvSpPr>
        <p:spPr>
          <a:xfrm>
            <a:off x="7402939" y="2882326"/>
            <a:ext cx="4145932" cy="964313"/>
          </a:xfrm>
          <a:custGeom>
            <a:avLst/>
            <a:gdLst>
              <a:gd name="connsiteX0" fmla="*/ 0 w 4145932"/>
              <a:gd name="connsiteY0" fmla="*/ 0 h 964313"/>
              <a:gd name="connsiteX1" fmla="*/ 4145932 w 4145932"/>
              <a:gd name="connsiteY1" fmla="*/ 0 h 964313"/>
              <a:gd name="connsiteX2" fmla="*/ 4145932 w 4145932"/>
              <a:gd name="connsiteY2" fmla="*/ 964313 h 964313"/>
              <a:gd name="connsiteX3" fmla="*/ 0 w 4145932"/>
              <a:gd name="connsiteY3" fmla="*/ 964313 h 964313"/>
              <a:gd name="connsiteX4" fmla="*/ 0 w 4145932"/>
              <a:gd name="connsiteY4" fmla="*/ 0 h 96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5932" h="964313">
                <a:moveTo>
                  <a:pt x="0" y="0"/>
                </a:moveTo>
                <a:lnTo>
                  <a:pt x="4145932" y="0"/>
                </a:lnTo>
                <a:lnTo>
                  <a:pt x="4145932" y="964313"/>
                </a:lnTo>
                <a:lnTo>
                  <a:pt x="0" y="964313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2056" tIns="102056" rIns="102056" bIns="102056" numCol="1" spcCol="1270" anchor="ctr" anchorCtr="0">
            <a:noAutofit/>
          </a:bodyPr>
          <a:lstStyle/>
          <a:p>
            <a:pPr marL="0" lvl="0" indent="0" algn="l" defTabSz="20447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4600" kern="1200" dirty="0">
                <a:solidFill>
                  <a:prstClr val="white"/>
                </a:solidFill>
                <a:latin typeface="Calibri" panose="020F0502020204030204"/>
                <a:ea typeface="+mn-ea"/>
                <a:cs typeface="+mn-cs"/>
              </a:rPr>
              <a:t>Email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454B929C-B2D7-43D6-A1FD-B6557DDD8E4C}"/>
              </a:ext>
            </a:extLst>
          </p:cNvPr>
          <p:cNvSpPr txBox="1">
            <a:spLocks/>
          </p:cNvSpPr>
          <p:nvPr/>
        </p:nvSpPr>
        <p:spPr>
          <a:xfrm>
            <a:off x="6289158" y="803325"/>
            <a:ext cx="5259707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Registration</a:t>
            </a:r>
            <a:endParaRPr lang="en-NL" dirty="0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9842071F-B6EA-4E30-9FAC-D893D16504B7}"/>
              </a:ext>
            </a:extLst>
          </p:cNvPr>
          <p:cNvSpPr/>
          <p:nvPr/>
        </p:nvSpPr>
        <p:spPr>
          <a:xfrm>
            <a:off x="6289158" y="3492289"/>
            <a:ext cx="5259714" cy="964313"/>
          </a:xfrm>
          <a:prstGeom prst="roundRect">
            <a:avLst>
              <a:gd name="adj" fmla="val 10000"/>
            </a:avLst>
          </a:prstGeom>
          <a:noFill/>
          <a:ln>
            <a:noFill/>
          </a:ln>
          <a:effectLst/>
        </p:spPr>
        <p:style>
          <a:lnRef idx="0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7" name="Rectangle 16" descr="Chat">
            <a:extLst>
              <a:ext uri="{FF2B5EF4-FFF2-40B4-BE49-F238E27FC236}">
                <a16:creationId xmlns:a16="http://schemas.microsoft.com/office/drawing/2014/main" id="{9661D7B8-54BB-4DF8-9CF9-BC12A3746091}"/>
              </a:ext>
            </a:extLst>
          </p:cNvPr>
          <p:cNvSpPr/>
          <p:nvPr/>
        </p:nvSpPr>
        <p:spPr>
          <a:xfrm>
            <a:off x="6580862" y="4304688"/>
            <a:ext cx="530372" cy="530372"/>
          </a:xfrm>
          <a:prstGeom prst="rect">
            <a:avLst/>
          </a:prstGeo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026E9BB7-160B-47B7-95AF-64DB300D1D60}"/>
              </a:ext>
            </a:extLst>
          </p:cNvPr>
          <p:cNvSpPr/>
          <p:nvPr/>
        </p:nvSpPr>
        <p:spPr>
          <a:xfrm>
            <a:off x="7402939" y="4087717"/>
            <a:ext cx="4145932" cy="964313"/>
          </a:xfrm>
          <a:custGeom>
            <a:avLst/>
            <a:gdLst>
              <a:gd name="connsiteX0" fmla="*/ 0 w 4145932"/>
              <a:gd name="connsiteY0" fmla="*/ 0 h 964313"/>
              <a:gd name="connsiteX1" fmla="*/ 4145932 w 4145932"/>
              <a:gd name="connsiteY1" fmla="*/ 0 h 964313"/>
              <a:gd name="connsiteX2" fmla="*/ 4145932 w 4145932"/>
              <a:gd name="connsiteY2" fmla="*/ 964313 h 964313"/>
              <a:gd name="connsiteX3" fmla="*/ 0 w 4145932"/>
              <a:gd name="connsiteY3" fmla="*/ 964313 h 964313"/>
              <a:gd name="connsiteX4" fmla="*/ 0 w 4145932"/>
              <a:gd name="connsiteY4" fmla="*/ 0 h 96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5932" h="964313">
                <a:moveTo>
                  <a:pt x="0" y="0"/>
                </a:moveTo>
                <a:lnTo>
                  <a:pt x="4145932" y="0"/>
                </a:lnTo>
                <a:lnTo>
                  <a:pt x="4145932" y="964313"/>
                </a:lnTo>
                <a:lnTo>
                  <a:pt x="0" y="964313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2056" tIns="102056" rIns="102056" bIns="102056" numCol="1" spcCol="1270" anchor="ctr" anchorCtr="0">
            <a:noAutofit/>
          </a:bodyPr>
          <a:lstStyle/>
          <a:p>
            <a:pPr marL="0" lvl="0" indent="0" algn="l" defTabSz="20447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4600" kern="1200" dirty="0">
                <a:solidFill>
                  <a:prstClr val="white"/>
                </a:solidFill>
                <a:latin typeface="Calibri" panose="020F0502020204030204"/>
                <a:ea typeface="+mn-ea"/>
                <a:cs typeface="+mn-cs"/>
              </a:rPr>
              <a:t>Cha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BC29DA1-31FE-42CF-8EFA-1C08433BDB4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5104913" cy="4114593"/>
          </a:xfrm>
          <a:prstGeom prst="flowChartDelay">
            <a:avLst/>
          </a:prstGeom>
        </p:spPr>
      </p:pic>
    </p:spTree>
    <p:extLst>
      <p:ext uri="{BB962C8B-B14F-4D97-AF65-F5344CB8AC3E}">
        <p14:creationId xmlns:p14="http://schemas.microsoft.com/office/powerpoint/2010/main" val="794305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indefinite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4" dur="indefinite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7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5" grpId="1"/>
      <p:bldP spid="18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>
            <a:extLst>
              <a:ext uri="{FF2B5EF4-FFF2-40B4-BE49-F238E27FC236}">
                <a16:creationId xmlns:a16="http://schemas.microsoft.com/office/drawing/2014/main" id="{454B929C-B2D7-43D6-A1FD-B6557DDD8E4C}"/>
              </a:ext>
            </a:extLst>
          </p:cNvPr>
          <p:cNvSpPr txBox="1">
            <a:spLocks/>
          </p:cNvSpPr>
          <p:nvPr/>
        </p:nvSpPr>
        <p:spPr>
          <a:xfrm>
            <a:off x="6289158" y="803325"/>
            <a:ext cx="5259707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Gate arrival</a:t>
            </a:r>
            <a:endParaRPr lang="en-NL" dirty="0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6877ABF8-DED3-4B67-8D76-2893B7BA6C09}"/>
              </a:ext>
            </a:extLst>
          </p:cNvPr>
          <p:cNvSpPr/>
          <p:nvPr/>
        </p:nvSpPr>
        <p:spPr>
          <a:xfrm>
            <a:off x="6289158" y="2827604"/>
            <a:ext cx="5259714" cy="1012776"/>
          </a:xfrm>
          <a:prstGeom prst="roundRect">
            <a:avLst>
              <a:gd name="adj" fmla="val 10000"/>
            </a:avLst>
          </a:prstGeom>
          <a:noFill/>
          <a:ln>
            <a:noFill/>
          </a:ln>
          <a:effectLst/>
        </p:spPr>
        <p:style>
          <a:lnRef idx="0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2" name="Rectangle 11" descr="Male profile">
            <a:extLst>
              <a:ext uri="{FF2B5EF4-FFF2-40B4-BE49-F238E27FC236}">
                <a16:creationId xmlns:a16="http://schemas.microsoft.com/office/drawing/2014/main" id="{161E1FBA-148B-4466-B52E-540BA1A60860}"/>
              </a:ext>
            </a:extLst>
          </p:cNvPr>
          <p:cNvSpPr/>
          <p:nvPr/>
        </p:nvSpPr>
        <p:spPr>
          <a:xfrm>
            <a:off x="6595522" y="3055479"/>
            <a:ext cx="557026" cy="557026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B450F8B-098A-4531-9BAC-9B0F797B6430}"/>
              </a:ext>
            </a:extLst>
          </p:cNvPr>
          <p:cNvSpPr/>
          <p:nvPr/>
        </p:nvSpPr>
        <p:spPr>
          <a:xfrm>
            <a:off x="7458914" y="2827604"/>
            <a:ext cx="4089957" cy="1012776"/>
          </a:xfrm>
          <a:custGeom>
            <a:avLst/>
            <a:gdLst>
              <a:gd name="connsiteX0" fmla="*/ 0 w 4089957"/>
              <a:gd name="connsiteY0" fmla="*/ 0 h 1012776"/>
              <a:gd name="connsiteX1" fmla="*/ 4089957 w 4089957"/>
              <a:gd name="connsiteY1" fmla="*/ 0 h 1012776"/>
              <a:gd name="connsiteX2" fmla="*/ 4089957 w 4089957"/>
              <a:gd name="connsiteY2" fmla="*/ 1012776 h 1012776"/>
              <a:gd name="connsiteX3" fmla="*/ 0 w 4089957"/>
              <a:gd name="connsiteY3" fmla="*/ 1012776 h 1012776"/>
              <a:gd name="connsiteX4" fmla="*/ 0 w 4089957"/>
              <a:gd name="connsiteY4" fmla="*/ 0 h 1012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9957" h="1012776">
                <a:moveTo>
                  <a:pt x="0" y="0"/>
                </a:moveTo>
                <a:lnTo>
                  <a:pt x="4089957" y="0"/>
                </a:lnTo>
                <a:lnTo>
                  <a:pt x="4089957" y="1012776"/>
                </a:lnTo>
                <a:lnTo>
                  <a:pt x="0" y="101277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7185" tIns="107185" rIns="107185" bIns="107185" numCol="1" spcCol="1270" anchor="ctr" anchorCtr="0">
            <a:noAutofit/>
          </a:bodyPr>
          <a:lstStyle/>
          <a:p>
            <a:pPr marL="0" lvl="0" indent="0" algn="l" defTabSz="20447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4600" kern="1200" dirty="0">
                <a:solidFill>
                  <a:prstClr val="white"/>
                </a:solidFill>
                <a:latin typeface="Calibri" panose="020F0502020204030204"/>
                <a:ea typeface="+mn-ea"/>
                <a:cs typeface="+mn-cs"/>
              </a:rPr>
              <a:t>Known person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FBBE7CDD-4D69-4B65-BDAF-CF96709EDD6C}"/>
              </a:ext>
            </a:extLst>
          </p:cNvPr>
          <p:cNvSpPr/>
          <p:nvPr/>
        </p:nvSpPr>
        <p:spPr>
          <a:xfrm>
            <a:off x="6289158" y="4093575"/>
            <a:ext cx="5259714" cy="1012776"/>
          </a:xfrm>
          <a:prstGeom prst="roundRect">
            <a:avLst>
              <a:gd name="adj" fmla="val 10000"/>
            </a:avLst>
          </a:prstGeom>
          <a:noFill/>
          <a:ln>
            <a:noFill/>
          </a:ln>
          <a:effectLst/>
        </p:spPr>
        <p:style>
          <a:lnRef idx="0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5" name="Rectangle 14" descr="Employee badge">
            <a:extLst>
              <a:ext uri="{FF2B5EF4-FFF2-40B4-BE49-F238E27FC236}">
                <a16:creationId xmlns:a16="http://schemas.microsoft.com/office/drawing/2014/main" id="{9F1A9331-20D1-426B-AE49-A4C82D570FB6}"/>
              </a:ext>
            </a:extLst>
          </p:cNvPr>
          <p:cNvSpPr/>
          <p:nvPr/>
        </p:nvSpPr>
        <p:spPr>
          <a:xfrm>
            <a:off x="6595522" y="4321449"/>
            <a:ext cx="557026" cy="557026"/>
          </a:xfrm>
          <a:prstGeom prst="rect">
            <a:avLst/>
          </a:prstGeo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5">
              <a:hueOff val="-6758543"/>
              <a:satOff val="-17419"/>
              <a:lumOff val="-11765"/>
              <a:alphaOff val="0"/>
            </a:schemeClr>
          </a:effectRef>
          <a:fontRef idx="minor">
            <a:schemeClr val="lt1"/>
          </a:fontRef>
        </p:style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E78F6193-543F-445C-BFDC-C8E720B3C24D}"/>
              </a:ext>
            </a:extLst>
          </p:cNvPr>
          <p:cNvSpPr/>
          <p:nvPr/>
        </p:nvSpPr>
        <p:spPr>
          <a:xfrm>
            <a:off x="7458914" y="4093575"/>
            <a:ext cx="4089957" cy="1012776"/>
          </a:xfrm>
          <a:custGeom>
            <a:avLst/>
            <a:gdLst>
              <a:gd name="connsiteX0" fmla="*/ 0 w 4089957"/>
              <a:gd name="connsiteY0" fmla="*/ 0 h 1012776"/>
              <a:gd name="connsiteX1" fmla="*/ 4089957 w 4089957"/>
              <a:gd name="connsiteY1" fmla="*/ 0 h 1012776"/>
              <a:gd name="connsiteX2" fmla="*/ 4089957 w 4089957"/>
              <a:gd name="connsiteY2" fmla="*/ 1012776 h 1012776"/>
              <a:gd name="connsiteX3" fmla="*/ 0 w 4089957"/>
              <a:gd name="connsiteY3" fmla="*/ 1012776 h 1012776"/>
              <a:gd name="connsiteX4" fmla="*/ 0 w 4089957"/>
              <a:gd name="connsiteY4" fmla="*/ 0 h 1012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9957" h="1012776">
                <a:moveTo>
                  <a:pt x="0" y="0"/>
                </a:moveTo>
                <a:lnTo>
                  <a:pt x="4089957" y="0"/>
                </a:lnTo>
                <a:lnTo>
                  <a:pt x="4089957" y="1012776"/>
                </a:lnTo>
                <a:lnTo>
                  <a:pt x="0" y="101277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7185" tIns="107185" rIns="107185" bIns="107185" numCol="1" spcCol="1270" anchor="ctr" anchorCtr="0">
            <a:noAutofit/>
          </a:bodyPr>
          <a:lstStyle/>
          <a:p>
            <a:pPr marL="0" lvl="0" indent="0" algn="l" defTabSz="20447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4600" kern="1200" dirty="0">
                <a:solidFill>
                  <a:prstClr val="white"/>
                </a:solidFill>
                <a:latin typeface="Calibri" panose="020F0502020204030204"/>
                <a:ea typeface="+mn-ea"/>
                <a:cs typeface="+mn-cs"/>
              </a:rPr>
              <a:t>Registere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570A28B-A8B8-4889-92C0-51139710C48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4480" r="-2" b="-2"/>
          <a:stretch/>
        </p:blipFill>
        <p:spPr>
          <a:xfrm>
            <a:off x="1" y="2"/>
            <a:ext cx="5863721" cy="4984915"/>
          </a:xfrm>
          <a:custGeom>
            <a:avLst/>
            <a:gdLst/>
            <a:ahLst/>
            <a:cxnLst/>
            <a:rect l="l" t="t" r="r" b="b"/>
            <a:pathLst>
              <a:path w="5863721" h="4984915">
                <a:moveTo>
                  <a:pt x="0" y="0"/>
                </a:moveTo>
                <a:lnTo>
                  <a:pt x="5863721" y="0"/>
                </a:lnTo>
                <a:lnTo>
                  <a:pt x="5844576" y="326138"/>
                </a:lnTo>
                <a:cubicBezTo>
                  <a:pt x="5833049" y="448313"/>
                  <a:pt x="5817094" y="570952"/>
                  <a:pt x="5796589" y="693884"/>
                </a:cubicBezTo>
                <a:cubicBezTo>
                  <a:pt x="5344573" y="3403845"/>
                  <a:pt x="2847261" y="5261756"/>
                  <a:pt x="148386" y="4951022"/>
                </a:cubicBezTo>
                <a:lnTo>
                  <a:pt x="0" y="4930112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511581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indefinite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7" dur="indefinite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indefinit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0" dur="indefinite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3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3" grpId="1"/>
      <p:bldP spid="16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>
            <a:extLst>
              <a:ext uri="{FF2B5EF4-FFF2-40B4-BE49-F238E27FC236}">
                <a16:creationId xmlns:a16="http://schemas.microsoft.com/office/drawing/2014/main" id="{454B929C-B2D7-43D6-A1FD-B6557DDD8E4C}"/>
              </a:ext>
            </a:extLst>
          </p:cNvPr>
          <p:cNvSpPr txBox="1">
            <a:spLocks/>
          </p:cNvSpPr>
          <p:nvPr/>
        </p:nvSpPr>
        <p:spPr>
          <a:xfrm>
            <a:off x="6289158" y="803325"/>
            <a:ext cx="5259707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Vehicle check</a:t>
            </a:r>
            <a:endParaRPr lang="en-NL" dirty="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3FEDAFB8-1EB6-4664-961D-B5A099B9E309}"/>
              </a:ext>
            </a:extLst>
          </p:cNvPr>
          <p:cNvSpPr/>
          <p:nvPr/>
        </p:nvSpPr>
        <p:spPr>
          <a:xfrm>
            <a:off x="6289158" y="2827604"/>
            <a:ext cx="5259714" cy="1012776"/>
          </a:xfrm>
          <a:prstGeom prst="roundRect">
            <a:avLst>
              <a:gd name="adj" fmla="val 10000"/>
            </a:avLst>
          </a:prstGeom>
          <a:noFill/>
          <a:ln>
            <a:noFill/>
          </a:ln>
          <a:effectLst/>
        </p:spPr>
        <p:style>
          <a:lnRef idx="0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0" name="Rectangle 9" descr="Male profile">
            <a:extLst>
              <a:ext uri="{FF2B5EF4-FFF2-40B4-BE49-F238E27FC236}">
                <a16:creationId xmlns:a16="http://schemas.microsoft.com/office/drawing/2014/main" id="{2E9A8A55-9DB7-4DB1-AC07-C86F3E1E0420}"/>
              </a:ext>
            </a:extLst>
          </p:cNvPr>
          <p:cNvSpPr/>
          <p:nvPr/>
        </p:nvSpPr>
        <p:spPr>
          <a:xfrm>
            <a:off x="6595522" y="3055479"/>
            <a:ext cx="557026" cy="557026"/>
          </a:xfrm>
          <a:prstGeom prst="rect">
            <a:avLst/>
          </a:prstGeom>
          <a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AE93180A-F4D2-4962-A4A1-358AB7D4AC30}"/>
              </a:ext>
            </a:extLst>
          </p:cNvPr>
          <p:cNvSpPr/>
          <p:nvPr/>
        </p:nvSpPr>
        <p:spPr>
          <a:xfrm>
            <a:off x="7458914" y="2827604"/>
            <a:ext cx="4089957" cy="1012776"/>
          </a:xfrm>
          <a:custGeom>
            <a:avLst/>
            <a:gdLst>
              <a:gd name="connsiteX0" fmla="*/ 0 w 4089957"/>
              <a:gd name="connsiteY0" fmla="*/ 0 h 1012776"/>
              <a:gd name="connsiteX1" fmla="*/ 4089957 w 4089957"/>
              <a:gd name="connsiteY1" fmla="*/ 0 h 1012776"/>
              <a:gd name="connsiteX2" fmla="*/ 4089957 w 4089957"/>
              <a:gd name="connsiteY2" fmla="*/ 1012776 h 1012776"/>
              <a:gd name="connsiteX3" fmla="*/ 0 w 4089957"/>
              <a:gd name="connsiteY3" fmla="*/ 1012776 h 1012776"/>
              <a:gd name="connsiteX4" fmla="*/ 0 w 4089957"/>
              <a:gd name="connsiteY4" fmla="*/ 0 h 1012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9957" h="1012776">
                <a:moveTo>
                  <a:pt x="0" y="0"/>
                </a:moveTo>
                <a:lnTo>
                  <a:pt x="4089957" y="0"/>
                </a:lnTo>
                <a:lnTo>
                  <a:pt x="4089957" y="1012776"/>
                </a:lnTo>
                <a:lnTo>
                  <a:pt x="0" y="101277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7185" tIns="107185" rIns="107185" bIns="107185" numCol="1" spcCol="1270" anchor="ctr" anchorCtr="0">
            <a:noAutofit/>
          </a:bodyPr>
          <a:lstStyle/>
          <a:p>
            <a:pPr marL="0" lvl="0" indent="0" algn="l" defTabSz="20447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4600" kern="1200" dirty="0">
                <a:solidFill>
                  <a:schemeClr val="bg1"/>
                </a:solidFill>
              </a:rPr>
              <a:t>Technical status</a:t>
            </a:r>
            <a:endParaRPr lang="en-US" sz="460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DF080FEF-CE82-469F-AEB8-C2587247A61C}"/>
              </a:ext>
            </a:extLst>
          </p:cNvPr>
          <p:cNvSpPr/>
          <p:nvPr/>
        </p:nvSpPr>
        <p:spPr>
          <a:xfrm>
            <a:off x="6289158" y="4093575"/>
            <a:ext cx="5259714" cy="1012776"/>
          </a:xfrm>
          <a:prstGeom prst="roundRect">
            <a:avLst>
              <a:gd name="adj" fmla="val 10000"/>
            </a:avLst>
          </a:prstGeom>
          <a:noFill/>
        </p:spPr>
        <p:style>
          <a:lnRef idx="0">
            <a:schemeClr val="dk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bg1">
              <a:lumMod val="95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3" name="Rectangle 12" descr="Car">
            <a:extLst>
              <a:ext uri="{FF2B5EF4-FFF2-40B4-BE49-F238E27FC236}">
                <a16:creationId xmlns:a16="http://schemas.microsoft.com/office/drawing/2014/main" id="{79B3C5CA-6FBE-4E18-965F-393638CB27B9}"/>
              </a:ext>
            </a:extLst>
          </p:cNvPr>
          <p:cNvSpPr/>
          <p:nvPr/>
        </p:nvSpPr>
        <p:spPr>
          <a:xfrm>
            <a:off x="6595522" y="4321449"/>
            <a:ext cx="557026" cy="557026"/>
          </a:xfrm>
          <a:prstGeom prst="rect">
            <a:avLst/>
          </a:prstGeo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5">
              <a:hueOff val="-6758543"/>
              <a:satOff val="-17419"/>
              <a:lumOff val="-11765"/>
              <a:alphaOff val="0"/>
            </a:schemeClr>
          </a:effectRef>
          <a:fontRef idx="minor">
            <a:schemeClr val="lt1"/>
          </a:fontRef>
        </p:style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E0185AF-84F8-4ED6-B749-5605437E32B5}"/>
              </a:ext>
            </a:extLst>
          </p:cNvPr>
          <p:cNvSpPr/>
          <p:nvPr/>
        </p:nvSpPr>
        <p:spPr>
          <a:xfrm>
            <a:off x="7458914" y="4093575"/>
            <a:ext cx="4089957" cy="1012776"/>
          </a:xfrm>
          <a:custGeom>
            <a:avLst/>
            <a:gdLst>
              <a:gd name="connsiteX0" fmla="*/ 0 w 4089957"/>
              <a:gd name="connsiteY0" fmla="*/ 0 h 1012776"/>
              <a:gd name="connsiteX1" fmla="*/ 4089957 w 4089957"/>
              <a:gd name="connsiteY1" fmla="*/ 0 h 1012776"/>
              <a:gd name="connsiteX2" fmla="*/ 4089957 w 4089957"/>
              <a:gd name="connsiteY2" fmla="*/ 1012776 h 1012776"/>
              <a:gd name="connsiteX3" fmla="*/ 0 w 4089957"/>
              <a:gd name="connsiteY3" fmla="*/ 1012776 h 1012776"/>
              <a:gd name="connsiteX4" fmla="*/ 0 w 4089957"/>
              <a:gd name="connsiteY4" fmla="*/ 0 h 1012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9957" h="1012776">
                <a:moveTo>
                  <a:pt x="0" y="0"/>
                </a:moveTo>
                <a:lnTo>
                  <a:pt x="4089957" y="0"/>
                </a:lnTo>
                <a:lnTo>
                  <a:pt x="4089957" y="1012776"/>
                </a:lnTo>
                <a:lnTo>
                  <a:pt x="0" y="101277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7185" tIns="107185" rIns="107185" bIns="107185" numCol="1" spcCol="1270" anchor="ctr" anchorCtr="0">
            <a:noAutofit/>
          </a:bodyPr>
          <a:lstStyle/>
          <a:p>
            <a:pPr marL="0" lvl="0" indent="0" algn="l" defTabSz="20447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4600" kern="1200" dirty="0">
                <a:solidFill>
                  <a:prstClr val="white"/>
                </a:solidFill>
                <a:latin typeface="Calibri" panose="020F0502020204030204"/>
                <a:ea typeface="+mn-ea"/>
                <a:cs typeface="+mn-cs"/>
              </a:rPr>
              <a:t>Fuel type</a:t>
            </a:r>
            <a:endParaRPr lang="en-NL" sz="460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191c269e-742e-4e62-ad2c-51c980e082ca" descr="Image">
            <a:extLst>
              <a:ext uri="{FF2B5EF4-FFF2-40B4-BE49-F238E27FC236}">
                <a16:creationId xmlns:a16="http://schemas.microsoft.com/office/drawing/2014/main" id="{92985139-219F-4861-B9C0-58FDC889421F}"/>
              </a:ext>
            </a:extLst>
          </p:cNvPr>
          <p:cNvPicPr/>
          <p:nvPr/>
        </p:nvPicPr>
        <p:blipFill rotWithShape="1">
          <a:blip r:embed="rId6"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30" r="26937"/>
          <a:stretch>
            <a:fillRect/>
          </a:stretch>
        </p:blipFill>
        <p:spPr bwMode="auto">
          <a:xfrm>
            <a:off x="1" y="2"/>
            <a:ext cx="5863721" cy="4984915"/>
          </a:xfrm>
          <a:custGeom>
            <a:avLst/>
            <a:gdLst/>
            <a:ahLst/>
            <a:cxnLst/>
            <a:rect l="l" t="t" r="r" b="b"/>
            <a:pathLst>
              <a:path w="5863721" h="4984915">
                <a:moveTo>
                  <a:pt x="0" y="0"/>
                </a:moveTo>
                <a:lnTo>
                  <a:pt x="5863721" y="0"/>
                </a:lnTo>
                <a:lnTo>
                  <a:pt x="5844576" y="326138"/>
                </a:lnTo>
                <a:cubicBezTo>
                  <a:pt x="5833049" y="448313"/>
                  <a:pt x="5817094" y="570952"/>
                  <a:pt x="5796589" y="693884"/>
                </a:cubicBezTo>
                <a:cubicBezTo>
                  <a:pt x="5344573" y="3403845"/>
                  <a:pt x="2847261" y="5261756"/>
                  <a:pt x="148386" y="4951022"/>
                </a:cubicBezTo>
                <a:lnTo>
                  <a:pt x="0" y="4930112"/>
                </a:lnTo>
                <a:close/>
              </a:path>
            </a:pathLst>
          </a:custGeom>
          <a:noFill/>
        </p:spPr>
      </p:pic>
    </p:spTree>
    <p:extLst>
      <p:ext uri="{BB962C8B-B14F-4D97-AF65-F5344CB8AC3E}">
        <p14:creationId xmlns:p14="http://schemas.microsoft.com/office/powerpoint/2010/main" val="1539543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7" dur="indefinite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0" dur="indefinite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indefinite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3" dur="indefinite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1" grpId="1"/>
      <p:bldP spid="1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87ACFB6-5A39-45C0-8C7A-E2CBB0C0A9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03225" y="1429761"/>
            <a:ext cx="3781953" cy="75029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ldert Grootenboer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27288" y="2953448"/>
            <a:ext cx="3137425" cy="1258515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A9474008-B810-4197-BAC3-92111052E75A}"/>
              </a:ext>
            </a:extLst>
          </p:cNvPr>
          <p:cNvGrpSpPr/>
          <p:nvPr/>
        </p:nvGrpSpPr>
        <p:grpSpPr>
          <a:xfrm>
            <a:off x="3498203" y="4998441"/>
            <a:ext cx="5195595" cy="830997"/>
            <a:chOff x="3729235" y="4998441"/>
            <a:chExt cx="5195595" cy="830997"/>
          </a:xfrm>
        </p:grpSpPr>
        <p:sp>
          <p:nvSpPr>
            <p:cNvPr id="9" name="Rectangle 8"/>
            <p:cNvSpPr/>
            <p:nvPr/>
          </p:nvSpPr>
          <p:spPr>
            <a:xfrm>
              <a:off x="4434258" y="4998441"/>
              <a:ext cx="4490572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1" indent="-148389" algn="l" defTabSz="91445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@egrootenboer</a:t>
              </a: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D1A41243-5E0C-4321-AE02-F27CC5E4FE5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729235" y="5098251"/>
              <a:ext cx="705022" cy="70502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6339266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indefinite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0" dur="indefinite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indefinite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8" dur="indefinite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>
            <a:extLst>
              <a:ext uri="{FF2B5EF4-FFF2-40B4-BE49-F238E27FC236}">
                <a16:creationId xmlns:a16="http://schemas.microsoft.com/office/drawing/2014/main" id="{454B929C-B2D7-43D6-A1FD-B6557DDD8E4C}"/>
              </a:ext>
            </a:extLst>
          </p:cNvPr>
          <p:cNvSpPr txBox="1">
            <a:spLocks/>
          </p:cNvSpPr>
          <p:nvPr/>
        </p:nvSpPr>
        <p:spPr>
          <a:xfrm>
            <a:off x="6289158" y="803325"/>
            <a:ext cx="5259707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Departure</a:t>
            </a:r>
            <a:endParaRPr lang="en-NL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8EAA90A-85FD-4C5C-A765-14DA0454E165}"/>
              </a:ext>
            </a:extLst>
          </p:cNvPr>
          <p:cNvSpPr/>
          <p:nvPr/>
        </p:nvSpPr>
        <p:spPr>
          <a:xfrm>
            <a:off x="6289158" y="2827604"/>
            <a:ext cx="5259714" cy="1012776"/>
          </a:xfrm>
          <a:prstGeom prst="roundRect">
            <a:avLst>
              <a:gd name="adj" fmla="val 10000"/>
            </a:avLst>
          </a:prstGeom>
          <a:noFill/>
          <a:ln>
            <a:noFill/>
          </a:ln>
          <a:effectLst/>
        </p:spPr>
        <p:style>
          <a:lnRef idx="0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9" name="Rectangle 8" descr="Male profile">
            <a:extLst>
              <a:ext uri="{FF2B5EF4-FFF2-40B4-BE49-F238E27FC236}">
                <a16:creationId xmlns:a16="http://schemas.microsoft.com/office/drawing/2014/main" id="{FC997E44-FAAB-4D10-811C-E727DC078B24}"/>
              </a:ext>
            </a:extLst>
          </p:cNvPr>
          <p:cNvSpPr/>
          <p:nvPr/>
        </p:nvSpPr>
        <p:spPr>
          <a:xfrm>
            <a:off x="6595522" y="3055479"/>
            <a:ext cx="557026" cy="557026"/>
          </a:xfrm>
          <a:prstGeom prst="rect">
            <a:avLst/>
          </a:prstGeom>
          <a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NL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1046F36-FEEF-4F23-A5FA-D59FA84D403F}"/>
              </a:ext>
            </a:extLst>
          </p:cNvPr>
          <p:cNvSpPr/>
          <p:nvPr/>
        </p:nvSpPr>
        <p:spPr>
          <a:xfrm>
            <a:off x="7458914" y="2827604"/>
            <a:ext cx="4089957" cy="1012776"/>
          </a:xfrm>
          <a:custGeom>
            <a:avLst/>
            <a:gdLst>
              <a:gd name="connsiteX0" fmla="*/ 0 w 4089957"/>
              <a:gd name="connsiteY0" fmla="*/ 0 h 1012776"/>
              <a:gd name="connsiteX1" fmla="*/ 4089957 w 4089957"/>
              <a:gd name="connsiteY1" fmla="*/ 0 h 1012776"/>
              <a:gd name="connsiteX2" fmla="*/ 4089957 w 4089957"/>
              <a:gd name="connsiteY2" fmla="*/ 1012776 h 1012776"/>
              <a:gd name="connsiteX3" fmla="*/ 0 w 4089957"/>
              <a:gd name="connsiteY3" fmla="*/ 1012776 h 1012776"/>
              <a:gd name="connsiteX4" fmla="*/ 0 w 4089957"/>
              <a:gd name="connsiteY4" fmla="*/ 0 h 1012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9957" h="1012776">
                <a:moveTo>
                  <a:pt x="0" y="0"/>
                </a:moveTo>
                <a:lnTo>
                  <a:pt x="4089957" y="0"/>
                </a:lnTo>
                <a:lnTo>
                  <a:pt x="4089957" y="1012776"/>
                </a:lnTo>
                <a:lnTo>
                  <a:pt x="0" y="101277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7185" tIns="107185" rIns="107185" bIns="107185" numCol="1" spcCol="1270" anchor="ctr" anchorCtr="0">
            <a:noAutofit/>
          </a:bodyPr>
          <a:lstStyle/>
          <a:p>
            <a:pPr marL="0" lvl="0" indent="0" algn="l" defTabSz="20447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4600" kern="1200" dirty="0">
                <a:solidFill>
                  <a:schemeClr val="bg1"/>
                </a:solidFill>
              </a:rPr>
              <a:t>Worksheet</a:t>
            </a:r>
            <a:endParaRPr lang="en-US" sz="460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3A62190-12F8-471A-A3BE-32368C20AF8E}"/>
              </a:ext>
            </a:extLst>
          </p:cNvPr>
          <p:cNvSpPr/>
          <p:nvPr/>
        </p:nvSpPr>
        <p:spPr>
          <a:xfrm>
            <a:off x="6289158" y="4093575"/>
            <a:ext cx="5259714" cy="1012776"/>
          </a:xfrm>
          <a:prstGeom prst="roundRect">
            <a:avLst>
              <a:gd name="adj" fmla="val 10000"/>
            </a:avLst>
          </a:prstGeom>
          <a:noFill/>
        </p:spPr>
        <p:style>
          <a:lnRef idx="0">
            <a:schemeClr val="dk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bg1">
              <a:lumMod val="95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2" name="Rectangle 11" descr="Contract">
            <a:extLst>
              <a:ext uri="{FF2B5EF4-FFF2-40B4-BE49-F238E27FC236}">
                <a16:creationId xmlns:a16="http://schemas.microsoft.com/office/drawing/2014/main" id="{FAD72A20-EE96-4BC1-8835-81706D3B916F}"/>
              </a:ext>
            </a:extLst>
          </p:cNvPr>
          <p:cNvSpPr/>
          <p:nvPr/>
        </p:nvSpPr>
        <p:spPr>
          <a:xfrm>
            <a:off x="6595522" y="4321449"/>
            <a:ext cx="557026" cy="557026"/>
          </a:xfrm>
          <a:prstGeom prst="rect">
            <a:avLst/>
          </a:prstGeo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5">
              <a:hueOff val="-6758543"/>
              <a:satOff val="-17419"/>
              <a:lumOff val="-11765"/>
              <a:alphaOff val="0"/>
            </a:schemeClr>
          </a:effectRef>
          <a:fontRef idx="minor">
            <a:schemeClr val="lt1"/>
          </a:fontRef>
        </p:style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3390F979-3634-4AD2-96F4-5EE420CA34E3}"/>
              </a:ext>
            </a:extLst>
          </p:cNvPr>
          <p:cNvSpPr/>
          <p:nvPr/>
        </p:nvSpPr>
        <p:spPr>
          <a:xfrm>
            <a:off x="7458914" y="4093575"/>
            <a:ext cx="4089957" cy="1012776"/>
          </a:xfrm>
          <a:custGeom>
            <a:avLst/>
            <a:gdLst>
              <a:gd name="connsiteX0" fmla="*/ 0 w 4089957"/>
              <a:gd name="connsiteY0" fmla="*/ 0 h 1012776"/>
              <a:gd name="connsiteX1" fmla="*/ 4089957 w 4089957"/>
              <a:gd name="connsiteY1" fmla="*/ 0 h 1012776"/>
              <a:gd name="connsiteX2" fmla="*/ 4089957 w 4089957"/>
              <a:gd name="connsiteY2" fmla="*/ 1012776 h 1012776"/>
              <a:gd name="connsiteX3" fmla="*/ 0 w 4089957"/>
              <a:gd name="connsiteY3" fmla="*/ 1012776 h 1012776"/>
              <a:gd name="connsiteX4" fmla="*/ 0 w 4089957"/>
              <a:gd name="connsiteY4" fmla="*/ 0 h 1012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9957" h="1012776">
                <a:moveTo>
                  <a:pt x="0" y="0"/>
                </a:moveTo>
                <a:lnTo>
                  <a:pt x="4089957" y="0"/>
                </a:lnTo>
                <a:lnTo>
                  <a:pt x="4089957" y="1012776"/>
                </a:lnTo>
                <a:lnTo>
                  <a:pt x="0" y="101277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7185" tIns="107185" rIns="107185" bIns="107185" numCol="1" spcCol="1270" anchor="ctr" anchorCtr="0">
            <a:noAutofit/>
          </a:bodyPr>
          <a:lstStyle/>
          <a:p>
            <a:pPr marL="0" lvl="0" indent="0" algn="l" defTabSz="20447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4600" kern="1200" dirty="0">
                <a:solidFill>
                  <a:prstClr val="white"/>
                </a:solidFill>
                <a:latin typeface="Calibri" panose="020F0502020204030204"/>
                <a:ea typeface="+mn-ea"/>
                <a:cs typeface="+mn-cs"/>
              </a:rPr>
              <a:t>Check approvals</a:t>
            </a:r>
            <a:endParaRPr lang="en-NL" sz="460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 descr="Document, Agreement, Documents, Sign, Business, Paper">
            <a:extLst>
              <a:ext uri="{FF2B5EF4-FFF2-40B4-BE49-F238E27FC236}">
                <a16:creationId xmlns:a16="http://schemas.microsoft.com/office/drawing/2014/main" id="{D85C72BC-9C98-48AC-B2AB-A3AA17B1066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77" r="-2" b="-2"/>
          <a:stretch/>
        </p:blipFill>
        <p:spPr bwMode="auto">
          <a:xfrm>
            <a:off x="0" y="0"/>
            <a:ext cx="5863721" cy="4984915"/>
          </a:xfrm>
          <a:custGeom>
            <a:avLst/>
            <a:gdLst/>
            <a:ahLst/>
            <a:cxnLst/>
            <a:rect l="l" t="t" r="r" b="b"/>
            <a:pathLst>
              <a:path w="5863721" h="4984915">
                <a:moveTo>
                  <a:pt x="0" y="0"/>
                </a:moveTo>
                <a:lnTo>
                  <a:pt x="5863721" y="0"/>
                </a:lnTo>
                <a:lnTo>
                  <a:pt x="5844576" y="326138"/>
                </a:lnTo>
                <a:cubicBezTo>
                  <a:pt x="5833049" y="448313"/>
                  <a:pt x="5817094" y="570952"/>
                  <a:pt x="5796589" y="693884"/>
                </a:cubicBezTo>
                <a:cubicBezTo>
                  <a:pt x="5344573" y="3403845"/>
                  <a:pt x="2847261" y="5261756"/>
                  <a:pt x="148386" y="4951022"/>
                </a:cubicBezTo>
                <a:lnTo>
                  <a:pt x="0" y="4930112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6318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indefinite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7" dur="indefinite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0" dur="indefinite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3" dur="indefinite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0" grpId="1"/>
      <p:bldP spid="13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D82AE10-D166-4377-A4DE-EA7ABA9E03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most done…</a:t>
            </a:r>
            <a:endParaRPr lang="en-NL" dirty="0"/>
          </a:p>
        </p:txBody>
      </p:sp>
      <p:pic>
        <p:nvPicPr>
          <p:cNvPr id="6146" name="Picture 2" descr="Weekend, Vacation, Payroll, People, Desk, Business">
            <a:extLst>
              <a:ext uri="{FF2B5EF4-FFF2-40B4-BE49-F238E27FC236}">
                <a16:creationId xmlns:a16="http://schemas.microsoft.com/office/drawing/2014/main" id="{587E9859-CD3A-4356-9128-5FD7682BA167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2475" y="987425"/>
            <a:ext cx="4873625" cy="4873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7949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31C111F-846F-450B-8D3B-2F2B65EAF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ke </a:t>
            </a:r>
            <a:r>
              <a:rPr lang="en-US" dirty="0" err="1"/>
              <a:t>aways</a:t>
            </a:r>
            <a:endParaRPr lang="en-NL" dirty="0"/>
          </a:p>
        </p:txBody>
      </p:sp>
      <p:sp>
        <p:nvSpPr>
          <p:cNvPr id="6" name="web1">
            <a:extLst>
              <a:ext uri="{FF2B5EF4-FFF2-40B4-BE49-F238E27FC236}">
                <a16:creationId xmlns:a16="http://schemas.microsoft.com/office/drawing/2014/main" id="{E3B4D578-C1F3-4658-8AD6-D3AB2FEF231C}"/>
              </a:ext>
            </a:extLst>
          </p:cNvPr>
          <p:cNvSpPr/>
          <p:nvPr/>
        </p:nvSpPr>
        <p:spPr bwMode="auto">
          <a:xfrm>
            <a:off x="3085506" y="1902943"/>
            <a:ext cx="8839575" cy="941247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79285" tIns="143428" rIns="179285" bIns="143428" numCol="1" rtlCol="0" anchor="ctr" anchorCtr="0" compatLnSpc="1">
            <a:prstTxWarp prst="textNoShape">
              <a:avLst/>
            </a:prstTxWarp>
          </a:bodyPr>
          <a:lstStyle/>
          <a:p>
            <a:pPr defTabSz="896386">
              <a:defRPr/>
            </a:pPr>
            <a:r>
              <a:rPr lang="en-US" sz="4000" kern="0" dirty="0">
                <a:solidFill>
                  <a:schemeClr val="bg1"/>
                </a:solidFill>
              </a:rPr>
              <a:t>Very low-entry to do complex work</a:t>
            </a:r>
          </a:p>
        </p:txBody>
      </p:sp>
      <p:sp>
        <p:nvSpPr>
          <p:cNvPr id="7" name="web2">
            <a:extLst>
              <a:ext uri="{FF2B5EF4-FFF2-40B4-BE49-F238E27FC236}">
                <a16:creationId xmlns:a16="http://schemas.microsoft.com/office/drawing/2014/main" id="{6CA9753C-D508-4595-A0C6-54B2F26022BE}"/>
              </a:ext>
            </a:extLst>
          </p:cNvPr>
          <p:cNvSpPr/>
          <p:nvPr/>
        </p:nvSpPr>
        <p:spPr bwMode="auto">
          <a:xfrm>
            <a:off x="3085506" y="2887143"/>
            <a:ext cx="8839575" cy="941247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79285" tIns="143428" rIns="179285" bIns="143428" numCol="1" rtlCol="0" anchor="ctr" anchorCtr="0" compatLnSpc="1">
            <a:prstTxWarp prst="textNoShape">
              <a:avLst/>
            </a:prstTxWarp>
          </a:bodyPr>
          <a:lstStyle/>
          <a:p>
            <a:pPr defTabSz="896386">
              <a:defRPr/>
            </a:pPr>
            <a:r>
              <a:rPr lang="en-US" sz="4000" kern="0" dirty="0">
                <a:solidFill>
                  <a:schemeClr val="bg1"/>
                </a:solidFill>
              </a:rPr>
              <a:t>Many options and keeps expanding</a:t>
            </a:r>
          </a:p>
        </p:txBody>
      </p:sp>
      <p:sp>
        <p:nvSpPr>
          <p:cNvPr id="8" name="web3">
            <a:extLst>
              <a:ext uri="{FF2B5EF4-FFF2-40B4-BE49-F238E27FC236}">
                <a16:creationId xmlns:a16="http://schemas.microsoft.com/office/drawing/2014/main" id="{1431CEED-DBF6-42A2-AA36-E06897D93636}"/>
              </a:ext>
            </a:extLst>
          </p:cNvPr>
          <p:cNvSpPr/>
          <p:nvPr/>
        </p:nvSpPr>
        <p:spPr bwMode="auto">
          <a:xfrm>
            <a:off x="3085506" y="3869473"/>
            <a:ext cx="8839575" cy="941247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79285" tIns="143428" rIns="179285" bIns="143428" numCol="1" rtlCol="0" anchor="ctr" anchorCtr="0" compatLnSpc="1">
            <a:prstTxWarp prst="textNoShape">
              <a:avLst/>
            </a:prstTxWarp>
          </a:bodyPr>
          <a:lstStyle/>
          <a:p>
            <a:pPr defTabSz="896386">
              <a:defRPr/>
            </a:pPr>
            <a:r>
              <a:rPr lang="en-US" sz="4000" kern="0" dirty="0">
                <a:solidFill>
                  <a:schemeClr val="bg1"/>
                </a:solidFill>
              </a:rPr>
              <a:t>Use cognitive services in your processes</a:t>
            </a:r>
          </a:p>
        </p:txBody>
      </p:sp>
      <p:sp>
        <p:nvSpPr>
          <p:cNvPr id="9" name="1">
            <a:extLst>
              <a:ext uri="{FF2B5EF4-FFF2-40B4-BE49-F238E27FC236}">
                <a16:creationId xmlns:a16="http://schemas.microsoft.com/office/drawing/2014/main" id="{8D00C176-4987-4666-A869-FA2D37B177E9}"/>
              </a:ext>
            </a:extLst>
          </p:cNvPr>
          <p:cNvSpPr/>
          <p:nvPr/>
        </p:nvSpPr>
        <p:spPr bwMode="auto">
          <a:xfrm>
            <a:off x="269241" y="1902943"/>
            <a:ext cx="2816265" cy="94124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 wrap="square" lIns="179285" tIns="143428" rIns="179285" bIns="143428" numCol="1" rtlCol="0" anchor="ctr" anchorCtr="0" compatLnSpc="1">
            <a:prstTxWarp prst="textNoShape">
              <a:avLst/>
            </a:prstTxWarp>
          </a:bodyPr>
          <a:lstStyle/>
          <a:p>
            <a:pPr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400" kern="0" dirty="0">
                <a:gradFill>
                  <a:gsLst>
                    <a:gs pos="5439">
                      <a:srgbClr val="F8F8F8"/>
                    </a:gs>
                    <a:gs pos="100000">
                      <a:srgbClr val="F8F8F8"/>
                    </a:gs>
                  </a:gsLst>
                  <a:lin ang="5400000" scaled="0"/>
                </a:gradFill>
                <a:latin typeface="+mj-lt"/>
              </a:rPr>
              <a:t>Easy</a:t>
            </a:r>
          </a:p>
        </p:txBody>
      </p:sp>
      <p:sp>
        <p:nvSpPr>
          <p:cNvPr id="10" name="2">
            <a:extLst>
              <a:ext uri="{FF2B5EF4-FFF2-40B4-BE49-F238E27FC236}">
                <a16:creationId xmlns:a16="http://schemas.microsoft.com/office/drawing/2014/main" id="{EC569B28-FE19-4CAC-985B-32C8548C2866}"/>
              </a:ext>
            </a:extLst>
          </p:cNvPr>
          <p:cNvSpPr/>
          <p:nvPr/>
        </p:nvSpPr>
        <p:spPr bwMode="auto">
          <a:xfrm>
            <a:off x="269241" y="2887142"/>
            <a:ext cx="2816265" cy="94124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 wrap="square" lIns="179285" tIns="143428" rIns="179285" bIns="143428" numCol="1" rtlCol="0" anchor="ctr" anchorCtr="0" compatLnSpc="1">
            <a:prstTxWarp prst="textNoShape">
              <a:avLst/>
            </a:prstTxWarp>
          </a:bodyPr>
          <a:lstStyle/>
          <a:p>
            <a:pPr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400" kern="0" dirty="0">
                <a:gradFill>
                  <a:gsLst>
                    <a:gs pos="5439">
                      <a:srgbClr val="F8F8F8"/>
                    </a:gs>
                    <a:gs pos="100000">
                      <a:srgbClr val="F8F8F8"/>
                    </a:gs>
                  </a:gsLst>
                  <a:lin ang="5400000" scaled="0"/>
                </a:gradFill>
                <a:latin typeface="+mj-lt"/>
              </a:rPr>
              <a:t>Extensive</a:t>
            </a:r>
          </a:p>
        </p:txBody>
      </p:sp>
      <p:sp>
        <p:nvSpPr>
          <p:cNvPr id="11" name="4">
            <a:extLst>
              <a:ext uri="{FF2B5EF4-FFF2-40B4-BE49-F238E27FC236}">
                <a16:creationId xmlns:a16="http://schemas.microsoft.com/office/drawing/2014/main" id="{2E3667A2-09DE-4C5C-8628-242A47E8AE89}"/>
              </a:ext>
            </a:extLst>
          </p:cNvPr>
          <p:cNvSpPr/>
          <p:nvPr/>
        </p:nvSpPr>
        <p:spPr bwMode="auto">
          <a:xfrm>
            <a:off x="269241" y="3869473"/>
            <a:ext cx="2816265" cy="94124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 wrap="square" lIns="179285" tIns="143428" rIns="179285" bIns="143428" numCol="1" rtlCol="0" anchor="ctr" anchorCtr="0" compatLnSpc="1">
            <a:prstTxWarp prst="textNoShape">
              <a:avLst/>
            </a:prstTxWarp>
          </a:bodyPr>
          <a:lstStyle/>
          <a:p>
            <a:pPr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400" kern="0" dirty="0">
                <a:gradFill>
                  <a:gsLst>
                    <a:gs pos="5439">
                      <a:srgbClr val="F8F8F8"/>
                    </a:gs>
                    <a:gs pos="100000">
                      <a:srgbClr val="F8F8F8"/>
                    </a:gs>
                  </a:gsLst>
                  <a:lin ang="5400000" scaled="0"/>
                </a:gradFill>
                <a:latin typeface="+mj-lt"/>
              </a:rPr>
              <a:t>Integrate</a:t>
            </a:r>
          </a:p>
        </p:txBody>
      </p:sp>
    </p:spTree>
    <p:extLst>
      <p:ext uri="{BB962C8B-B14F-4D97-AF65-F5344CB8AC3E}">
        <p14:creationId xmlns:p14="http://schemas.microsoft.com/office/powerpoint/2010/main" val="2854366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1" dur="indefinite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indefinite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4" dur="indefinite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indefinite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5" dur="indefinite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8" dur="indefinite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  <p:bldP spid="7" grpId="0" animBg="1"/>
      <p:bldP spid="7" grpId="1" animBg="1"/>
      <p:bldP spid="8" grpId="0" animBg="1"/>
      <p:bldP spid="9" grpId="0" animBg="1"/>
      <p:bldP spid="9" grpId="1" animBg="1"/>
      <p:bldP spid="10" grpId="0" animBg="1"/>
      <p:bldP spid="10" grpId="1" animBg="1"/>
      <p:bldP spid="11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F5E76B-98B8-4D90-8AEA-7411FE79CE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9446" y="1396289"/>
            <a:ext cx="4399106" cy="132556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400" dirty="0"/>
              <a:t>Thank You!</a:t>
            </a:r>
          </a:p>
        </p:txBody>
      </p:sp>
      <p:sp>
        <p:nvSpPr>
          <p:cNvPr id="20" name="Freeform: Shape 22">
            <a:extLst>
              <a:ext uri="{FF2B5EF4-FFF2-40B4-BE49-F238E27FC236}">
                <a16:creationId xmlns:a16="http://schemas.microsoft.com/office/drawing/2014/main" id="{2EEE8F11-3582-44B7-9869-F2D26D7DD9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1"/>
            <a:ext cx="4133221" cy="3548529"/>
          </a:xfrm>
          <a:custGeom>
            <a:avLst/>
            <a:gdLst>
              <a:gd name="connsiteX0" fmla="*/ 0 w 4133221"/>
              <a:gd name="connsiteY0" fmla="*/ 0 h 3548529"/>
              <a:gd name="connsiteX1" fmla="*/ 3798429 w 4133221"/>
              <a:gd name="connsiteY1" fmla="*/ 0 h 3548529"/>
              <a:gd name="connsiteX2" fmla="*/ 3850140 w 4133221"/>
              <a:gd name="connsiteY2" fmla="*/ 85119 h 3548529"/>
              <a:gd name="connsiteX3" fmla="*/ 4133221 w 4133221"/>
              <a:gd name="connsiteY3" fmla="*/ 1203093 h 3548529"/>
              <a:gd name="connsiteX4" fmla="*/ 1787785 w 4133221"/>
              <a:gd name="connsiteY4" fmla="*/ 3548529 h 3548529"/>
              <a:gd name="connsiteX5" fmla="*/ 129311 w 4133221"/>
              <a:gd name="connsiteY5" fmla="*/ 2861567 h 3548529"/>
              <a:gd name="connsiteX6" fmla="*/ 0 w 4133221"/>
              <a:gd name="connsiteY6" fmla="*/ 2719289 h 3548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3221" h="3548529">
                <a:moveTo>
                  <a:pt x="0" y="0"/>
                </a:moveTo>
                <a:lnTo>
                  <a:pt x="3798429" y="0"/>
                </a:lnTo>
                <a:lnTo>
                  <a:pt x="3850140" y="85119"/>
                </a:lnTo>
                <a:cubicBezTo>
                  <a:pt x="4030674" y="417451"/>
                  <a:pt x="4133221" y="798296"/>
                  <a:pt x="4133221" y="1203093"/>
                </a:cubicBezTo>
                <a:cubicBezTo>
                  <a:pt x="4133221" y="2498442"/>
                  <a:pt x="3083134" y="3548529"/>
                  <a:pt x="1787785" y="3548529"/>
                </a:cubicBezTo>
                <a:cubicBezTo>
                  <a:pt x="1140111" y="3548529"/>
                  <a:pt x="553752" y="3286007"/>
                  <a:pt x="129311" y="2861567"/>
                </a:cubicBezTo>
                <a:lnTo>
                  <a:pt x="0" y="2719289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Freeform: Shape 24">
            <a:extLst>
              <a:ext uri="{FF2B5EF4-FFF2-40B4-BE49-F238E27FC236}">
                <a16:creationId xmlns:a16="http://schemas.microsoft.com/office/drawing/2014/main" id="{2141F1CC-6A53-4BCF-9127-AABB52E249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3842188"/>
            <a:ext cx="3321156" cy="3015812"/>
          </a:xfrm>
          <a:custGeom>
            <a:avLst/>
            <a:gdLst>
              <a:gd name="connsiteX0" fmla="*/ 1359768 w 3321156"/>
              <a:gd name="connsiteY0" fmla="*/ 0 h 3015812"/>
              <a:gd name="connsiteX1" fmla="*/ 3321156 w 3321156"/>
              <a:gd name="connsiteY1" fmla="*/ 1961388 h 3015812"/>
              <a:gd name="connsiteX2" fmla="*/ 3084427 w 3321156"/>
              <a:gd name="connsiteY2" fmla="*/ 2896302 h 3015812"/>
              <a:gd name="connsiteX3" fmla="*/ 3011823 w 3321156"/>
              <a:gd name="connsiteY3" fmla="*/ 3015812 h 3015812"/>
              <a:gd name="connsiteX4" fmla="*/ 0 w 3321156"/>
              <a:gd name="connsiteY4" fmla="*/ 3015812 h 3015812"/>
              <a:gd name="connsiteX5" fmla="*/ 0 w 3321156"/>
              <a:gd name="connsiteY5" fmla="*/ 549808 h 3015812"/>
              <a:gd name="connsiteX6" fmla="*/ 112143 w 3321156"/>
              <a:gd name="connsiteY6" fmla="*/ 447886 h 3015812"/>
              <a:gd name="connsiteX7" fmla="*/ 1359768 w 3321156"/>
              <a:gd name="connsiteY7" fmla="*/ 0 h 3015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21156" h="3015812">
                <a:moveTo>
                  <a:pt x="1359768" y="0"/>
                </a:moveTo>
                <a:cubicBezTo>
                  <a:pt x="2443013" y="0"/>
                  <a:pt x="3321156" y="878143"/>
                  <a:pt x="3321156" y="1961388"/>
                </a:cubicBezTo>
                <a:cubicBezTo>
                  <a:pt x="3321156" y="2299902"/>
                  <a:pt x="3235400" y="2618387"/>
                  <a:pt x="3084427" y="2896302"/>
                </a:cubicBezTo>
                <a:lnTo>
                  <a:pt x="3011823" y="3015812"/>
                </a:lnTo>
                <a:lnTo>
                  <a:pt x="0" y="3015812"/>
                </a:lnTo>
                <a:lnTo>
                  <a:pt x="0" y="549808"/>
                </a:lnTo>
                <a:lnTo>
                  <a:pt x="112143" y="447886"/>
                </a:lnTo>
                <a:cubicBezTo>
                  <a:pt x="451187" y="168082"/>
                  <a:pt x="885848" y="0"/>
                  <a:pt x="1359768" y="0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Freeform: Shape 26">
            <a:extLst>
              <a:ext uri="{FF2B5EF4-FFF2-40B4-BE49-F238E27FC236}">
                <a16:creationId xmlns:a16="http://schemas.microsoft.com/office/drawing/2014/main" id="{C20C2C41-D9A8-45BE-9E21-91268EC186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007251"/>
            <a:ext cx="3155071" cy="2850749"/>
          </a:xfrm>
          <a:custGeom>
            <a:avLst/>
            <a:gdLst>
              <a:gd name="connsiteX0" fmla="*/ 1358746 w 3155071"/>
              <a:gd name="connsiteY0" fmla="*/ 0 h 2850749"/>
              <a:gd name="connsiteX1" fmla="*/ 3155071 w 3155071"/>
              <a:gd name="connsiteY1" fmla="*/ 1796325 h 2850749"/>
              <a:gd name="connsiteX2" fmla="*/ 2848287 w 3155071"/>
              <a:gd name="connsiteY2" fmla="*/ 2800668 h 2850749"/>
              <a:gd name="connsiteX3" fmla="*/ 2810837 w 3155071"/>
              <a:gd name="connsiteY3" fmla="*/ 2850749 h 2850749"/>
              <a:gd name="connsiteX4" fmla="*/ 0 w 3155071"/>
              <a:gd name="connsiteY4" fmla="*/ 2850749 h 2850749"/>
              <a:gd name="connsiteX5" fmla="*/ 0 w 3155071"/>
              <a:gd name="connsiteY5" fmla="*/ 623564 h 2850749"/>
              <a:gd name="connsiteX6" fmla="*/ 88552 w 3155071"/>
              <a:gd name="connsiteY6" fmla="*/ 526132 h 2850749"/>
              <a:gd name="connsiteX7" fmla="*/ 1358746 w 3155071"/>
              <a:gd name="connsiteY7" fmla="*/ 0 h 2850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55071" h="2850749">
                <a:moveTo>
                  <a:pt x="1358746" y="0"/>
                </a:moveTo>
                <a:cubicBezTo>
                  <a:pt x="2350829" y="0"/>
                  <a:pt x="3155071" y="804242"/>
                  <a:pt x="3155071" y="1796325"/>
                </a:cubicBezTo>
                <a:cubicBezTo>
                  <a:pt x="3155071" y="2168356"/>
                  <a:pt x="3041975" y="2513972"/>
                  <a:pt x="2848287" y="2800668"/>
                </a:cubicBezTo>
                <a:lnTo>
                  <a:pt x="2810837" y="2850749"/>
                </a:lnTo>
                <a:lnTo>
                  <a:pt x="0" y="2850749"/>
                </a:lnTo>
                <a:lnTo>
                  <a:pt x="0" y="623564"/>
                </a:lnTo>
                <a:lnTo>
                  <a:pt x="88552" y="526132"/>
                </a:lnTo>
                <a:cubicBezTo>
                  <a:pt x="413623" y="201061"/>
                  <a:pt x="862705" y="0"/>
                  <a:pt x="1358746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Oval 28">
            <a:extLst>
              <a:ext uri="{FF2B5EF4-FFF2-40B4-BE49-F238E27FC236}">
                <a16:creationId xmlns:a16="http://schemas.microsoft.com/office/drawing/2014/main" id="{561B2B49-7142-4CA8-A929-4671548E6A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436095" y="2496668"/>
            <a:ext cx="3118104" cy="3118104"/>
          </a:xfrm>
          <a:prstGeom prst="ellipse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Oval 30">
            <a:extLst>
              <a:ext uri="{FF2B5EF4-FFF2-40B4-BE49-F238E27FC236}">
                <a16:creationId xmlns:a16="http://schemas.microsoft.com/office/drawing/2014/main" id="{B38B1FC8-38BF-4066-8F4A-12EEC1C1AF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601748" y="2662321"/>
            <a:ext cx="2788920" cy="278892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178B4B56-5CC4-4608-A9A9-996108D35B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967973" cy="3383280"/>
          </a:xfrm>
          <a:custGeom>
            <a:avLst/>
            <a:gdLst>
              <a:gd name="connsiteX0" fmla="*/ 0 w 3967973"/>
              <a:gd name="connsiteY0" fmla="*/ 0 h 3383280"/>
              <a:gd name="connsiteX1" fmla="*/ 3605273 w 3967973"/>
              <a:gd name="connsiteY1" fmla="*/ 0 h 3383280"/>
              <a:gd name="connsiteX2" fmla="*/ 3704836 w 3967973"/>
              <a:gd name="connsiteY2" fmla="*/ 163887 h 3383280"/>
              <a:gd name="connsiteX3" fmla="*/ 3967973 w 3967973"/>
              <a:gd name="connsiteY3" fmla="*/ 1203093 h 3383280"/>
              <a:gd name="connsiteX4" fmla="*/ 1787786 w 3967973"/>
              <a:gd name="connsiteY4" fmla="*/ 3383280 h 3383280"/>
              <a:gd name="connsiteX5" fmla="*/ 105448 w 3967973"/>
              <a:gd name="connsiteY5" fmla="*/ 2589894 h 3383280"/>
              <a:gd name="connsiteX6" fmla="*/ 0 w 3967973"/>
              <a:gd name="connsiteY6" fmla="*/ 2448881 h 3383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67973" h="3383280">
                <a:moveTo>
                  <a:pt x="0" y="0"/>
                </a:moveTo>
                <a:lnTo>
                  <a:pt x="3605273" y="0"/>
                </a:lnTo>
                <a:lnTo>
                  <a:pt x="3704836" y="163887"/>
                </a:lnTo>
                <a:cubicBezTo>
                  <a:pt x="3872651" y="472804"/>
                  <a:pt x="3967973" y="826817"/>
                  <a:pt x="3967973" y="1203093"/>
                </a:cubicBezTo>
                <a:cubicBezTo>
                  <a:pt x="3967973" y="2407177"/>
                  <a:pt x="2991870" y="3383280"/>
                  <a:pt x="1787786" y="3383280"/>
                </a:cubicBezTo>
                <a:cubicBezTo>
                  <a:pt x="1110489" y="3383280"/>
                  <a:pt x="505326" y="3074435"/>
                  <a:pt x="105448" y="2589894"/>
                </a:cubicBezTo>
                <a:lnTo>
                  <a:pt x="0" y="244888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C413F6D-2B4F-4F91-A559-857AC1762A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3058" y="276649"/>
            <a:ext cx="2721278" cy="2239280"/>
          </a:xfrm>
          <a:prstGeom prst="rect">
            <a:avLst/>
          </a:prstGeom>
        </p:spPr>
      </p:pic>
      <p:pic>
        <p:nvPicPr>
          <p:cNvPr id="14" name="Picture 2" descr="Image result for twitter logo">
            <a:extLst>
              <a:ext uri="{FF2B5EF4-FFF2-40B4-BE49-F238E27FC236}">
                <a16:creationId xmlns:a16="http://schemas.microsoft.com/office/drawing/2014/main" id="{17D8DC3E-938A-4B8E-9849-BB9EC563AC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1142" y="4658549"/>
            <a:ext cx="2159475" cy="192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4" descr="Image result for linkedin logo">
            <a:extLst>
              <a:ext uri="{FF2B5EF4-FFF2-40B4-BE49-F238E27FC236}">
                <a16:creationId xmlns:a16="http://schemas.microsoft.com/office/drawing/2014/main" id="{CFB40FDA-39CD-4620-9C61-B9A00618B0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060390" y="3133476"/>
            <a:ext cx="1858273" cy="1858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FA376D98-3522-4C69-910D-880684F4FAA0}"/>
              </a:ext>
            </a:extLst>
          </p:cNvPr>
          <p:cNvSpPr txBox="1">
            <a:spLocks/>
          </p:cNvSpPr>
          <p:nvPr/>
        </p:nvSpPr>
        <p:spPr>
          <a:xfrm>
            <a:off x="6669138" y="2871982"/>
            <a:ext cx="5481723" cy="318168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6163" lvl="3" indent="0" defTabSz="914400">
              <a:lnSpc>
                <a:spcPct val="90000"/>
              </a:lnSpc>
              <a:buNone/>
            </a:pPr>
            <a:r>
              <a:rPr lang="en-US" sz="2000" dirty="0">
                <a:solidFill>
                  <a:schemeClr val="bg1"/>
                </a:solidFill>
              </a:rPr>
              <a:t>@</a:t>
            </a:r>
            <a:r>
              <a:rPr lang="en-US" sz="2000" dirty="0" err="1">
                <a:solidFill>
                  <a:schemeClr val="bg1"/>
                </a:solidFill>
              </a:rPr>
              <a:t>egrootenboer</a:t>
            </a:r>
            <a:endParaRPr lang="en-US" sz="2000" dirty="0">
              <a:solidFill>
                <a:schemeClr val="bg1"/>
              </a:solidFill>
            </a:endParaRPr>
          </a:p>
          <a:p>
            <a:pPr marL="146163" lvl="3" indent="0" defTabSz="914400">
              <a:lnSpc>
                <a:spcPct val="90000"/>
              </a:lnSpc>
              <a:buNone/>
            </a:pPr>
            <a:r>
              <a:rPr lang="en-US" sz="2000" dirty="0">
                <a:solidFill>
                  <a:schemeClr val="bg1"/>
                </a:solidFill>
              </a:rPr>
              <a:t>eldert@eldert.net</a:t>
            </a:r>
          </a:p>
          <a:p>
            <a:pPr marL="146163" lvl="3" indent="0" defTabSz="914400">
              <a:lnSpc>
                <a:spcPct val="90000"/>
              </a:lnSpc>
              <a:buNone/>
            </a:pPr>
            <a:r>
              <a:rPr lang="en-US" sz="2000" dirty="0">
                <a:solidFill>
                  <a:schemeClr val="bg1"/>
                </a:solidFill>
              </a:rPr>
              <a:t>https://www.linkedin.com/in/eldert-grootenboer</a:t>
            </a:r>
          </a:p>
        </p:txBody>
      </p:sp>
    </p:spTree>
    <p:extLst>
      <p:ext uri="{BB962C8B-B14F-4D97-AF65-F5344CB8AC3E}">
        <p14:creationId xmlns:p14="http://schemas.microsoft.com/office/powerpoint/2010/main" val="8917521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Arrow&#10;&#10;Description automatically generated with medium confidence">
            <a:extLst>
              <a:ext uri="{FF2B5EF4-FFF2-40B4-BE49-F238E27FC236}">
                <a16:creationId xmlns:a16="http://schemas.microsoft.com/office/drawing/2014/main" id="{DAB2F973-B31D-409A-B7E7-FB5C88B79B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DF5E76B-98B8-4D90-8AEA-7411FE79CE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31846" y="70726"/>
            <a:ext cx="4399106" cy="132556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400" dirty="0"/>
              <a:t>Thank You!</a:t>
            </a:r>
          </a:p>
        </p:txBody>
      </p:sp>
      <p:sp>
        <p:nvSpPr>
          <p:cNvPr id="20" name="Freeform: Shape 22">
            <a:extLst>
              <a:ext uri="{FF2B5EF4-FFF2-40B4-BE49-F238E27FC236}">
                <a16:creationId xmlns:a16="http://schemas.microsoft.com/office/drawing/2014/main" id="{2EEE8F11-3582-44B7-9869-F2D26D7DD9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1"/>
            <a:ext cx="4133221" cy="3548529"/>
          </a:xfrm>
          <a:custGeom>
            <a:avLst/>
            <a:gdLst>
              <a:gd name="connsiteX0" fmla="*/ 0 w 4133221"/>
              <a:gd name="connsiteY0" fmla="*/ 0 h 3548529"/>
              <a:gd name="connsiteX1" fmla="*/ 3798429 w 4133221"/>
              <a:gd name="connsiteY1" fmla="*/ 0 h 3548529"/>
              <a:gd name="connsiteX2" fmla="*/ 3850140 w 4133221"/>
              <a:gd name="connsiteY2" fmla="*/ 85119 h 3548529"/>
              <a:gd name="connsiteX3" fmla="*/ 4133221 w 4133221"/>
              <a:gd name="connsiteY3" fmla="*/ 1203093 h 3548529"/>
              <a:gd name="connsiteX4" fmla="*/ 1787785 w 4133221"/>
              <a:gd name="connsiteY4" fmla="*/ 3548529 h 3548529"/>
              <a:gd name="connsiteX5" fmla="*/ 129311 w 4133221"/>
              <a:gd name="connsiteY5" fmla="*/ 2861567 h 3548529"/>
              <a:gd name="connsiteX6" fmla="*/ 0 w 4133221"/>
              <a:gd name="connsiteY6" fmla="*/ 2719289 h 3548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3221" h="3548529">
                <a:moveTo>
                  <a:pt x="0" y="0"/>
                </a:moveTo>
                <a:lnTo>
                  <a:pt x="3798429" y="0"/>
                </a:lnTo>
                <a:lnTo>
                  <a:pt x="3850140" y="85119"/>
                </a:lnTo>
                <a:cubicBezTo>
                  <a:pt x="4030674" y="417451"/>
                  <a:pt x="4133221" y="798296"/>
                  <a:pt x="4133221" y="1203093"/>
                </a:cubicBezTo>
                <a:cubicBezTo>
                  <a:pt x="4133221" y="2498442"/>
                  <a:pt x="3083134" y="3548529"/>
                  <a:pt x="1787785" y="3548529"/>
                </a:cubicBezTo>
                <a:cubicBezTo>
                  <a:pt x="1140111" y="3548529"/>
                  <a:pt x="553752" y="3286007"/>
                  <a:pt x="129311" y="2861567"/>
                </a:cubicBezTo>
                <a:lnTo>
                  <a:pt x="0" y="2719289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Freeform: Shape 24">
            <a:extLst>
              <a:ext uri="{FF2B5EF4-FFF2-40B4-BE49-F238E27FC236}">
                <a16:creationId xmlns:a16="http://schemas.microsoft.com/office/drawing/2014/main" id="{2141F1CC-6A53-4BCF-9127-AABB52E249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3842188"/>
            <a:ext cx="3321156" cy="3015812"/>
          </a:xfrm>
          <a:custGeom>
            <a:avLst/>
            <a:gdLst>
              <a:gd name="connsiteX0" fmla="*/ 1359768 w 3321156"/>
              <a:gd name="connsiteY0" fmla="*/ 0 h 3015812"/>
              <a:gd name="connsiteX1" fmla="*/ 3321156 w 3321156"/>
              <a:gd name="connsiteY1" fmla="*/ 1961388 h 3015812"/>
              <a:gd name="connsiteX2" fmla="*/ 3084427 w 3321156"/>
              <a:gd name="connsiteY2" fmla="*/ 2896302 h 3015812"/>
              <a:gd name="connsiteX3" fmla="*/ 3011823 w 3321156"/>
              <a:gd name="connsiteY3" fmla="*/ 3015812 h 3015812"/>
              <a:gd name="connsiteX4" fmla="*/ 0 w 3321156"/>
              <a:gd name="connsiteY4" fmla="*/ 3015812 h 3015812"/>
              <a:gd name="connsiteX5" fmla="*/ 0 w 3321156"/>
              <a:gd name="connsiteY5" fmla="*/ 549808 h 3015812"/>
              <a:gd name="connsiteX6" fmla="*/ 112143 w 3321156"/>
              <a:gd name="connsiteY6" fmla="*/ 447886 h 3015812"/>
              <a:gd name="connsiteX7" fmla="*/ 1359768 w 3321156"/>
              <a:gd name="connsiteY7" fmla="*/ 0 h 3015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21156" h="3015812">
                <a:moveTo>
                  <a:pt x="1359768" y="0"/>
                </a:moveTo>
                <a:cubicBezTo>
                  <a:pt x="2443013" y="0"/>
                  <a:pt x="3321156" y="878143"/>
                  <a:pt x="3321156" y="1961388"/>
                </a:cubicBezTo>
                <a:cubicBezTo>
                  <a:pt x="3321156" y="2299902"/>
                  <a:pt x="3235400" y="2618387"/>
                  <a:pt x="3084427" y="2896302"/>
                </a:cubicBezTo>
                <a:lnTo>
                  <a:pt x="3011823" y="3015812"/>
                </a:lnTo>
                <a:lnTo>
                  <a:pt x="0" y="3015812"/>
                </a:lnTo>
                <a:lnTo>
                  <a:pt x="0" y="549808"/>
                </a:lnTo>
                <a:lnTo>
                  <a:pt x="112143" y="447886"/>
                </a:lnTo>
                <a:cubicBezTo>
                  <a:pt x="451187" y="168082"/>
                  <a:pt x="885848" y="0"/>
                  <a:pt x="1359768" y="0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Freeform: Shape 26">
            <a:extLst>
              <a:ext uri="{FF2B5EF4-FFF2-40B4-BE49-F238E27FC236}">
                <a16:creationId xmlns:a16="http://schemas.microsoft.com/office/drawing/2014/main" id="{C20C2C41-D9A8-45BE-9E21-91268EC186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007251"/>
            <a:ext cx="3155071" cy="2850749"/>
          </a:xfrm>
          <a:custGeom>
            <a:avLst/>
            <a:gdLst>
              <a:gd name="connsiteX0" fmla="*/ 1358746 w 3155071"/>
              <a:gd name="connsiteY0" fmla="*/ 0 h 2850749"/>
              <a:gd name="connsiteX1" fmla="*/ 3155071 w 3155071"/>
              <a:gd name="connsiteY1" fmla="*/ 1796325 h 2850749"/>
              <a:gd name="connsiteX2" fmla="*/ 2848287 w 3155071"/>
              <a:gd name="connsiteY2" fmla="*/ 2800668 h 2850749"/>
              <a:gd name="connsiteX3" fmla="*/ 2810837 w 3155071"/>
              <a:gd name="connsiteY3" fmla="*/ 2850749 h 2850749"/>
              <a:gd name="connsiteX4" fmla="*/ 0 w 3155071"/>
              <a:gd name="connsiteY4" fmla="*/ 2850749 h 2850749"/>
              <a:gd name="connsiteX5" fmla="*/ 0 w 3155071"/>
              <a:gd name="connsiteY5" fmla="*/ 623564 h 2850749"/>
              <a:gd name="connsiteX6" fmla="*/ 88552 w 3155071"/>
              <a:gd name="connsiteY6" fmla="*/ 526132 h 2850749"/>
              <a:gd name="connsiteX7" fmla="*/ 1358746 w 3155071"/>
              <a:gd name="connsiteY7" fmla="*/ 0 h 2850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55071" h="2850749">
                <a:moveTo>
                  <a:pt x="1358746" y="0"/>
                </a:moveTo>
                <a:cubicBezTo>
                  <a:pt x="2350829" y="0"/>
                  <a:pt x="3155071" y="804242"/>
                  <a:pt x="3155071" y="1796325"/>
                </a:cubicBezTo>
                <a:cubicBezTo>
                  <a:pt x="3155071" y="2168356"/>
                  <a:pt x="3041975" y="2513972"/>
                  <a:pt x="2848287" y="2800668"/>
                </a:cubicBezTo>
                <a:lnTo>
                  <a:pt x="2810837" y="2850749"/>
                </a:lnTo>
                <a:lnTo>
                  <a:pt x="0" y="2850749"/>
                </a:lnTo>
                <a:lnTo>
                  <a:pt x="0" y="623564"/>
                </a:lnTo>
                <a:lnTo>
                  <a:pt x="88552" y="526132"/>
                </a:lnTo>
                <a:cubicBezTo>
                  <a:pt x="413623" y="201061"/>
                  <a:pt x="862705" y="0"/>
                  <a:pt x="1358746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Oval 28">
            <a:extLst>
              <a:ext uri="{FF2B5EF4-FFF2-40B4-BE49-F238E27FC236}">
                <a16:creationId xmlns:a16="http://schemas.microsoft.com/office/drawing/2014/main" id="{561B2B49-7142-4CA8-A929-4671548E6A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436095" y="2496668"/>
            <a:ext cx="3118104" cy="3118104"/>
          </a:xfrm>
          <a:prstGeom prst="ellipse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Oval 30">
            <a:extLst>
              <a:ext uri="{FF2B5EF4-FFF2-40B4-BE49-F238E27FC236}">
                <a16:creationId xmlns:a16="http://schemas.microsoft.com/office/drawing/2014/main" id="{B38B1FC8-38BF-4066-8F4A-12EEC1C1AF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601748" y="2662321"/>
            <a:ext cx="2788920" cy="278892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178B4B56-5CC4-4608-A9A9-996108D35B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967973" cy="3383280"/>
          </a:xfrm>
          <a:custGeom>
            <a:avLst/>
            <a:gdLst>
              <a:gd name="connsiteX0" fmla="*/ 0 w 3967973"/>
              <a:gd name="connsiteY0" fmla="*/ 0 h 3383280"/>
              <a:gd name="connsiteX1" fmla="*/ 3605273 w 3967973"/>
              <a:gd name="connsiteY1" fmla="*/ 0 h 3383280"/>
              <a:gd name="connsiteX2" fmla="*/ 3704836 w 3967973"/>
              <a:gd name="connsiteY2" fmla="*/ 163887 h 3383280"/>
              <a:gd name="connsiteX3" fmla="*/ 3967973 w 3967973"/>
              <a:gd name="connsiteY3" fmla="*/ 1203093 h 3383280"/>
              <a:gd name="connsiteX4" fmla="*/ 1787786 w 3967973"/>
              <a:gd name="connsiteY4" fmla="*/ 3383280 h 3383280"/>
              <a:gd name="connsiteX5" fmla="*/ 105448 w 3967973"/>
              <a:gd name="connsiteY5" fmla="*/ 2589894 h 3383280"/>
              <a:gd name="connsiteX6" fmla="*/ 0 w 3967973"/>
              <a:gd name="connsiteY6" fmla="*/ 2448881 h 3383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67973" h="3383280">
                <a:moveTo>
                  <a:pt x="0" y="0"/>
                </a:moveTo>
                <a:lnTo>
                  <a:pt x="3605273" y="0"/>
                </a:lnTo>
                <a:lnTo>
                  <a:pt x="3704836" y="163887"/>
                </a:lnTo>
                <a:cubicBezTo>
                  <a:pt x="3872651" y="472804"/>
                  <a:pt x="3967973" y="826817"/>
                  <a:pt x="3967973" y="1203093"/>
                </a:cubicBezTo>
                <a:cubicBezTo>
                  <a:pt x="3967973" y="2407177"/>
                  <a:pt x="2991870" y="3383280"/>
                  <a:pt x="1787786" y="3383280"/>
                </a:cubicBezTo>
                <a:cubicBezTo>
                  <a:pt x="1110489" y="3383280"/>
                  <a:pt x="505326" y="3074435"/>
                  <a:pt x="105448" y="2589894"/>
                </a:cubicBezTo>
                <a:lnTo>
                  <a:pt x="0" y="244888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C413F6D-2B4F-4F91-A559-857AC1762A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3058" y="276649"/>
            <a:ext cx="2721278" cy="2239280"/>
          </a:xfrm>
          <a:prstGeom prst="rect">
            <a:avLst/>
          </a:prstGeom>
        </p:spPr>
      </p:pic>
      <p:pic>
        <p:nvPicPr>
          <p:cNvPr id="14" name="Picture 2" descr="Image result for twitter logo">
            <a:extLst>
              <a:ext uri="{FF2B5EF4-FFF2-40B4-BE49-F238E27FC236}">
                <a16:creationId xmlns:a16="http://schemas.microsoft.com/office/drawing/2014/main" id="{17D8DC3E-938A-4B8E-9849-BB9EC563AC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1142" y="4658549"/>
            <a:ext cx="2159475" cy="192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4" descr="Image result for linkedin logo">
            <a:extLst>
              <a:ext uri="{FF2B5EF4-FFF2-40B4-BE49-F238E27FC236}">
                <a16:creationId xmlns:a16="http://schemas.microsoft.com/office/drawing/2014/main" id="{CFB40FDA-39CD-4620-9C61-B9A00618B0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060390" y="3133476"/>
            <a:ext cx="1858273" cy="1858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FA376D98-3522-4C69-910D-880684F4FAA0}"/>
              </a:ext>
            </a:extLst>
          </p:cNvPr>
          <p:cNvSpPr txBox="1">
            <a:spLocks/>
          </p:cNvSpPr>
          <p:nvPr/>
        </p:nvSpPr>
        <p:spPr>
          <a:xfrm>
            <a:off x="6669138" y="2871982"/>
            <a:ext cx="5481723" cy="318168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6163" lvl="3" indent="0" defTabSz="914400">
              <a:lnSpc>
                <a:spcPct val="90000"/>
              </a:lnSpc>
              <a:buNone/>
            </a:pPr>
            <a:r>
              <a:rPr lang="en-US" sz="2000" dirty="0">
                <a:solidFill>
                  <a:schemeClr val="bg1"/>
                </a:solidFill>
              </a:rPr>
              <a:t>@</a:t>
            </a:r>
            <a:r>
              <a:rPr lang="en-US" sz="2000" dirty="0" err="1">
                <a:solidFill>
                  <a:schemeClr val="bg1"/>
                </a:solidFill>
              </a:rPr>
              <a:t>egrootenboer</a:t>
            </a:r>
            <a:endParaRPr lang="en-US" sz="2000" dirty="0">
              <a:solidFill>
                <a:schemeClr val="bg1"/>
              </a:solidFill>
            </a:endParaRPr>
          </a:p>
          <a:p>
            <a:pPr marL="146163" lvl="3" indent="0" defTabSz="914400">
              <a:lnSpc>
                <a:spcPct val="90000"/>
              </a:lnSpc>
              <a:buNone/>
            </a:pPr>
            <a:r>
              <a:rPr lang="en-US" sz="2000" dirty="0">
                <a:solidFill>
                  <a:schemeClr val="bg1"/>
                </a:solidFill>
              </a:rPr>
              <a:t>eldert@eldert.net</a:t>
            </a:r>
          </a:p>
          <a:p>
            <a:pPr marL="146163" lvl="3" indent="0" defTabSz="914400">
              <a:lnSpc>
                <a:spcPct val="90000"/>
              </a:lnSpc>
              <a:buNone/>
            </a:pPr>
            <a:r>
              <a:rPr lang="en-US" sz="2000" dirty="0">
                <a:solidFill>
                  <a:schemeClr val="bg1"/>
                </a:solidFill>
              </a:rPr>
              <a:t>https://www.linkedin.com/in/eldert-grootenboer</a:t>
            </a:r>
          </a:p>
        </p:txBody>
      </p:sp>
    </p:spTree>
    <p:extLst>
      <p:ext uri="{BB962C8B-B14F-4D97-AF65-F5344CB8AC3E}">
        <p14:creationId xmlns:p14="http://schemas.microsoft.com/office/powerpoint/2010/main" val="6080267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87D5CC4-3923-4504-88B7-CCACA70CB3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gnitive services</a:t>
            </a:r>
            <a:endParaRPr lang="en-NL" dirty="0"/>
          </a:p>
        </p:txBody>
      </p:sp>
      <p:pic>
        <p:nvPicPr>
          <p:cNvPr id="2058" name="Picture 10" descr="Cranium, Head, Human, Male, Man, People, Persons">
            <a:extLst>
              <a:ext uri="{FF2B5EF4-FFF2-40B4-BE49-F238E27FC236}">
                <a16:creationId xmlns:a16="http://schemas.microsoft.com/office/drawing/2014/main" id="{5A537FB3-9DB1-4594-B787-A1E4021F5621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3188" y="1553289"/>
            <a:ext cx="6172200" cy="37418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2702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20CDB7-7FAC-43C9-94E0-D2ADB2E3A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gnition</a:t>
            </a:r>
            <a:endParaRPr lang="en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01932C-ECC4-4E8E-98E0-6FD6147DA8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i="1" dirty="0"/>
              <a:t>The mental action or process of acquiring knowledge and understanding through thought, experience, and the senses.</a:t>
            </a:r>
          </a:p>
        </p:txBody>
      </p:sp>
      <p:pic>
        <p:nvPicPr>
          <p:cNvPr id="4" name="Graphic 6" descr="Person with Idea">
            <a:extLst>
              <a:ext uri="{FF2B5EF4-FFF2-40B4-BE49-F238E27FC236}">
                <a16:creationId xmlns:a16="http://schemas.microsoft.com/office/drawing/2014/main" id="{313DE606-D308-4938-B6D8-0754F930E1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50595" y="3159864"/>
            <a:ext cx="3620021" cy="3620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790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20CDB7-7FAC-43C9-94E0-D2ADB2E3A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gnition</a:t>
            </a:r>
            <a:endParaRPr lang="en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01932C-ECC4-4E8E-98E0-6FD6147DA8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i="1" dirty="0"/>
              <a:t>The mental action or process of acquiring </a:t>
            </a:r>
            <a:r>
              <a:rPr lang="en-US" i="1" dirty="0">
                <a:solidFill>
                  <a:schemeClr val="accent6"/>
                </a:solidFill>
              </a:rPr>
              <a:t>knowledge</a:t>
            </a:r>
            <a:r>
              <a:rPr lang="en-US" i="1" dirty="0"/>
              <a:t> and </a:t>
            </a:r>
            <a:r>
              <a:rPr lang="en-US" i="1" dirty="0">
                <a:solidFill>
                  <a:schemeClr val="accent6"/>
                </a:solidFill>
              </a:rPr>
              <a:t>understanding</a:t>
            </a:r>
            <a:r>
              <a:rPr lang="en-US" i="1" dirty="0"/>
              <a:t> through </a:t>
            </a:r>
            <a:r>
              <a:rPr lang="en-US" i="1" dirty="0">
                <a:solidFill>
                  <a:schemeClr val="accent6"/>
                </a:solidFill>
              </a:rPr>
              <a:t>thought</a:t>
            </a:r>
            <a:r>
              <a:rPr lang="en-US" i="1" dirty="0"/>
              <a:t>, </a:t>
            </a:r>
            <a:r>
              <a:rPr lang="en-US" i="1" dirty="0">
                <a:solidFill>
                  <a:schemeClr val="accent6"/>
                </a:solidFill>
              </a:rPr>
              <a:t>experience</a:t>
            </a:r>
            <a:r>
              <a:rPr lang="en-US" i="1" dirty="0"/>
              <a:t>, and the </a:t>
            </a:r>
            <a:r>
              <a:rPr lang="en-US" i="1" dirty="0">
                <a:solidFill>
                  <a:schemeClr val="accent6"/>
                </a:solidFill>
              </a:rPr>
              <a:t>senses</a:t>
            </a:r>
            <a:r>
              <a:rPr lang="en-US" i="1" dirty="0"/>
              <a:t>.</a:t>
            </a:r>
          </a:p>
        </p:txBody>
      </p:sp>
      <p:pic>
        <p:nvPicPr>
          <p:cNvPr id="4" name="Graphic 6" descr="Person with Idea">
            <a:extLst>
              <a:ext uri="{FF2B5EF4-FFF2-40B4-BE49-F238E27FC236}">
                <a16:creationId xmlns:a16="http://schemas.microsoft.com/office/drawing/2014/main" id="{313DE606-D308-4938-B6D8-0754F930E1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50595" y="3159864"/>
            <a:ext cx="3620021" cy="3620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27873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453851-9DCA-4A8C-9299-C39614798E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gnitive Services</a:t>
            </a:r>
            <a:endParaRPr lang="en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2F5120-CECE-4C50-B909-2C84584698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i="1" dirty="0"/>
              <a:t>Cognitive services are a set of APIs that are designed to democratize artificial intelligence by enabling systems to see, hear, speak, understand and interpret our needs using natural methods of communication.</a:t>
            </a:r>
          </a:p>
        </p:txBody>
      </p:sp>
    </p:spTree>
    <p:extLst>
      <p:ext uri="{BB962C8B-B14F-4D97-AF65-F5344CB8AC3E}">
        <p14:creationId xmlns:p14="http://schemas.microsoft.com/office/powerpoint/2010/main" val="2030337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453851-9DCA-4A8C-9299-C39614798E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gnitive Services</a:t>
            </a:r>
            <a:endParaRPr lang="en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2F5120-CECE-4C50-B909-2C84584698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i="1" dirty="0"/>
              <a:t>Cognitive services are a set of </a:t>
            </a:r>
            <a:r>
              <a:rPr lang="en-US" i="1" dirty="0">
                <a:solidFill>
                  <a:schemeClr val="accent6"/>
                </a:solidFill>
              </a:rPr>
              <a:t>APIs</a:t>
            </a:r>
            <a:r>
              <a:rPr lang="en-US" i="1" dirty="0"/>
              <a:t> that are designed to democratize </a:t>
            </a:r>
            <a:r>
              <a:rPr lang="en-US" i="1" dirty="0">
                <a:solidFill>
                  <a:schemeClr val="accent6"/>
                </a:solidFill>
              </a:rPr>
              <a:t>artificial intelligence</a:t>
            </a:r>
            <a:r>
              <a:rPr lang="en-US" i="1" dirty="0"/>
              <a:t> by enabling systems to </a:t>
            </a:r>
            <a:r>
              <a:rPr lang="en-US" i="1" dirty="0">
                <a:solidFill>
                  <a:schemeClr val="accent6"/>
                </a:solidFill>
              </a:rPr>
              <a:t>see</a:t>
            </a:r>
            <a:r>
              <a:rPr lang="en-US" i="1" dirty="0"/>
              <a:t>, </a:t>
            </a:r>
            <a:r>
              <a:rPr lang="en-US" i="1" dirty="0">
                <a:solidFill>
                  <a:schemeClr val="accent6"/>
                </a:solidFill>
              </a:rPr>
              <a:t>hear</a:t>
            </a:r>
            <a:r>
              <a:rPr lang="en-US" i="1" dirty="0"/>
              <a:t>, </a:t>
            </a:r>
            <a:r>
              <a:rPr lang="en-US" i="1" dirty="0">
                <a:solidFill>
                  <a:schemeClr val="accent6"/>
                </a:solidFill>
              </a:rPr>
              <a:t>speak</a:t>
            </a:r>
            <a:r>
              <a:rPr lang="en-US" i="1" dirty="0"/>
              <a:t>, </a:t>
            </a:r>
            <a:r>
              <a:rPr lang="en-US" i="1" dirty="0">
                <a:solidFill>
                  <a:schemeClr val="accent6"/>
                </a:solidFill>
              </a:rPr>
              <a:t>understand</a:t>
            </a:r>
            <a:r>
              <a:rPr lang="en-US" i="1" dirty="0"/>
              <a:t> and </a:t>
            </a:r>
            <a:r>
              <a:rPr lang="en-US" i="1" dirty="0">
                <a:solidFill>
                  <a:schemeClr val="accent6"/>
                </a:solidFill>
              </a:rPr>
              <a:t>interpret</a:t>
            </a:r>
            <a:r>
              <a:rPr lang="en-US" i="1" dirty="0"/>
              <a:t> our needs using </a:t>
            </a:r>
            <a:r>
              <a:rPr lang="en-US" i="1" dirty="0">
                <a:solidFill>
                  <a:schemeClr val="accent6"/>
                </a:solidFill>
              </a:rPr>
              <a:t>natural</a:t>
            </a:r>
            <a:r>
              <a:rPr lang="en-US" i="1" dirty="0"/>
              <a:t> methods of communication.</a:t>
            </a:r>
          </a:p>
        </p:txBody>
      </p:sp>
    </p:spTree>
    <p:extLst>
      <p:ext uri="{BB962C8B-B14F-4D97-AF65-F5344CB8AC3E}">
        <p14:creationId xmlns:p14="http://schemas.microsoft.com/office/powerpoint/2010/main" val="16383318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45E7359C-7CB0-41AD-BF51-38BED42ECC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s</a:t>
            </a:r>
            <a:endParaRPr lang="en-NL" dirty="0"/>
          </a:p>
        </p:txBody>
      </p:sp>
      <p:pic>
        <p:nvPicPr>
          <p:cNvPr id="3076" name="Picture 4" descr="Business, Idea, Strategy, Marketing, Plan, Vision">
            <a:extLst>
              <a:ext uri="{FF2B5EF4-FFF2-40B4-BE49-F238E27FC236}">
                <a16:creationId xmlns:a16="http://schemas.microsoft.com/office/drawing/2014/main" id="{1D1F62EC-68AF-43EC-A204-5059858D23C3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9685" y="987425"/>
            <a:ext cx="3919206" cy="4873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3646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358</TotalTime>
  <Words>1505</Words>
  <Application>Microsoft Office PowerPoint</Application>
  <PresentationFormat>Widescreen</PresentationFormat>
  <Paragraphs>249</Paragraphs>
  <Slides>34</Slides>
  <Notes>25</Notes>
  <HiddenSlides>9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5" baseType="lpstr">
      <vt:lpstr>Arial</vt:lpstr>
      <vt:lpstr>Calibri</vt:lpstr>
      <vt:lpstr>Calibri Light</vt:lpstr>
      <vt:lpstr>Consolas</vt:lpstr>
      <vt:lpstr>Segoe UI</vt:lpstr>
      <vt:lpstr>Segoe UI Black</vt:lpstr>
      <vt:lpstr>Segoe UI Light</vt:lpstr>
      <vt:lpstr>Segoe UI Semibold</vt:lpstr>
      <vt:lpstr>Wingdings</vt:lpstr>
      <vt:lpstr>1_Office Theme</vt:lpstr>
      <vt:lpstr>think-cell Slide</vt:lpstr>
      <vt:lpstr>Building Smarter Solutions  Using Azure and Cognitive Services</vt:lpstr>
      <vt:lpstr>Building Smarter Solutions  Using Azure and Cognitive Services</vt:lpstr>
      <vt:lpstr>Eldert Grootenboer</vt:lpstr>
      <vt:lpstr>Cognitive services</vt:lpstr>
      <vt:lpstr>Cognition</vt:lpstr>
      <vt:lpstr>Cognition</vt:lpstr>
      <vt:lpstr>Cognitive Services</vt:lpstr>
      <vt:lpstr>Cognitive Services</vt:lpstr>
      <vt:lpstr>Examples</vt:lpstr>
      <vt:lpstr>A variety of real-world applications</vt:lpstr>
      <vt:lpstr>Intelligent Kiosk</vt:lpstr>
      <vt:lpstr>Azure Cognitive Services</vt:lpstr>
      <vt:lpstr>Azure  Cognitive Services</vt:lpstr>
      <vt:lpstr>Decision</vt:lpstr>
      <vt:lpstr>Language</vt:lpstr>
      <vt:lpstr>Speech</vt:lpstr>
      <vt:lpstr>Vision</vt:lpstr>
      <vt:lpstr>Web search</vt:lpstr>
      <vt:lpstr>Why Azure Cognitive Services?</vt:lpstr>
      <vt:lpstr>Bots</vt:lpstr>
      <vt:lpstr>Creating your bot</vt:lpstr>
      <vt:lpstr>Azure Bot Service</vt:lpstr>
      <vt:lpstr>Demo time!</vt:lpstr>
      <vt:lpstr>Scenario</vt:lpstr>
      <vt:lpstr>Scenario</vt:lpstr>
      <vt:lpstr>Scenario</vt:lpstr>
      <vt:lpstr>PowerPoint Presentation</vt:lpstr>
      <vt:lpstr>PowerPoint Presentation</vt:lpstr>
      <vt:lpstr>PowerPoint Presentation</vt:lpstr>
      <vt:lpstr>PowerPoint Presentation</vt:lpstr>
      <vt:lpstr>Almost done…</vt:lpstr>
      <vt:lpstr>Take aways</vt:lpstr>
      <vt:lpstr>Thank You!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uilding Smarter Solutions  Using Azure and Cognitive Services</dc:title>
  <dc:creator>Eldert Grootenboer</dc:creator>
  <cp:lastModifiedBy>Eldert Grootenboer</cp:lastModifiedBy>
  <cp:revision>1</cp:revision>
  <dcterms:created xsi:type="dcterms:W3CDTF">2020-08-01T13:20:00Z</dcterms:created>
  <dcterms:modified xsi:type="dcterms:W3CDTF">2021-10-12T07:02:54Z</dcterms:modified>
</cp:coreProperties>
</file>